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1.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29.xml" ContentType="application/vnd.openxmlformats-officedocument.presentationml.tags+xml"/>
  <Override PartName="/ppt/notesSlides/notesSlide2.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9.xml" ContentType="application/vnd.openxmlformats-officedocument.drawingml.chart+xml"/>
  <Override PartName="/ppt/theme/themeOverride3.xml" ContentType="application/vnd.openxmlformats-officedocument.themeOverride+xml"/>
  <Override PartName="/ppt/charts/chart10.xml" ContentType="application/vnd.openxmlformats-officedocument.drawingml.chart+xml"/>
  <Override PartName="/ppt/theme/themeOverride4.xml" ContentType="application/vnd.openxmlformats-officedocument.themeOverride+xml"/>
  <Override PartName="/ppt/charts/chart11.xml" ContentType="application/vnd.openxmlformats-officedocument.drawingml.chart+xml"/>
  <Override PartName="/ppt/theme/themeOverride5.xml" ContentType="application/vnd.openxmlformats-officedocument.themeOverride+xml"/>
  <Override PartName="/ppt/charts/chart12.xml" ContentType="application/vnd.openxmlformats-officedocument.drawingml.chart+xml"/>
  <Override PartName="/ppt/theme/themeOverride6.xml" ContentType="application/vnd.openxmlformats-officedocument.themeOverride+xml"/>
  <Override PartName="/ppt/charts/chart13.xml" ContentType="application/vnd.openxmlformats-officedocument.drawingml.chart+xml"/>
  <Override PartName="/ppt/theme/themeOverride7.xml" ContentType="application/vnd.openxmlformats-officedocument.themeOverride+xml"/>
  <Override PartName="/ppt/notesSlides/notesSlide4.xml" ContentType="application/vnd.openxmlformats-officedocument.presentationml.notesSlide+xml"/>
  <Override PartName="/ppt/charts/chart14.xml" ContentType="application/vnd.openxmlformats-officedocument.drawingml.chart+xml"/>
  <Override PartName="/ppt/theme/themeOverride8.xml" ContentType="application/vnd.openxmlformats-officedocument.themeOverride+xml"/>
  <Override PartName="/ppt/notesSlides/notesSlide5.xml" ContentType="application/vnd.openxmlformats-officedocument.presentationml.notesSlide+xml"/>
  <Override PartName="/ppt/charts/chart15.xml" ContentType="application/vnd.openxmlformats-officedocument.drawingml.chart+xml"/>
  <Override PartName="/ppt/theme/themeOverride9.xml" ContentType="application/vnd.openxmlformats-officedocument.themeOverride+xml"/>
  <Override PartName="/ppt/charts/chart16.xml" ContentType="application/vnd.openxmlformats-officedocument.drawingml.chart+xml"/>
  <Override PartName="/ppt/theme/themeOverride10.xml" ContentType="application/vnd.openxmlformats-officedocument.themeOverride+xml"/>
  <Override PartName="/ppt/notesSlides/notesSlide6.xml" ContentType="application/vnd.openxmlformats-officedocument.presentationml.notesSlide+xml"/>
  <Override PartName="/ppt/charts/chart17.xml" ContentType="application/vnd.openxmlformats-officedocument.drawingml.chart+xml"/>
  <Override PartName="/ppt/theme/themeOverride11.xml" ContentType="application/vnd.openxmlformats-officedocument.themeOverride+xml"/>
  <Override PartName="/ppt/charts/chart18.xml" ContentType="application/vnd.openxmlformats-officedocument.drawingml.chart+xml"/>
  <Override PartName="/ppt/theme/themeOverride12.xml" ContentType="application/vnd.openxmlformats-officedocument.themeOverride+xml"/>
  <Override PartName="/ppt/charts/chart19.xml" ContentType="application/vnd.openxmlformats-officedocument.drawingml.chart+xml"/>
  <Override PartName="/ppt/theme/themeOverride13.xml" ContentType="application/vnd.openxmlformats-officedocument.themeOverride+xml"/>
  <Override PartName="/ppt/charts/chart20.xml" ContentType="application/vnd.openxmlformats-officedocument.drawingml.chart+xml"/>
  <Override PartName="/ppt/notesSlides/notesSlide7.xml" ContentType="application/vnd.openxmlformats-officedocument.presentationml.notesSlide+xml"/>
  <Override PartName="/ppt/charts/chart21.xml" ContentType="application/vnd.openxmlformats-officedocument.drawingml.chart+xml"/>
  <Override PartName="/ppt/charts/style5.xml" ContentType="application/vnd.ms-office.chartstyle+xml"/>
  <Override PartName="/ppt/charts/colors5.xml" ContentType="application/vnd.ms-office.chartcolorstyle+xml"/>
  <Override PartName="/ppt/charts/chart22.xml" ContentType="application/vnd.openxmlformats-officedocument.drawingml.chart+xml"/>
  <Override PartName="/ppt/charts/style6.xml" ContentType="application/vnd.ms-office.chartstyle+xml"/>
  <Override PartName="/ppt/charts/colors6.xml" ContentType="application/vnd.ms-office.chartcolorstyle+xml"/>
  <Override PartName="/ppt/tags/tag30.xml" ContentType="application/vnd.openxmlformats-officedocument.presentationml.tags+xml"/>
  <Override PartName="/ppt/notesSlides/notesSlide8.xml" ContentType="application/vnd.openxmlformats-officedocument.presentationml.notesSlide+xml"/>
  <Override PartName="/ppt/charts/chart23.xml" ContentType="application/vnd.openxmlformats-officedocument.drawingml.chart+xml"/>
  <Override PartName="/ppt/charts/style7.xml" ContentType="application/vnd.ms-office.chartstyle+xml"/>
  <Override PartName="/ppt/charts/colors7.xml" ContentType="application/vnd.ms-office.chartcolorstyle+xml"/>
  <Override PartName="/ppt/tags/tag31.xml" ContentType="application/vnd.openxmlformats-officedocument.presentationml.tags+xml"/>
  <Override PartName="/ppt/notesSlides/notesSlide9.xml" ContentType="application/vnd.openxmlformats-officedocument.presentationml.notesSlide+xml"/>
  <Override PartName="/ppt/charts/chart24.xml" ContentType="application/vnd.openxmlformats-officedocument.drawingml.chart+xml"/>
  <Override PartName="/ppt/theme/themeOverride14.xml" ContentType="application/vnd.openxmlformats-officedocument.themeOverride+xml"/>
  <Override PartName="/ppt/charts/chart25.xml" ContentType="application/vnd.openxmlformats-officedocument.drawingml.chart+xml"/>
  <Override PartName="/ppt/theme/themeOverride15.xml" ContentType="application/vnd.openxmlformats-officedocument.themeOverride+xml"/>
  <Override PartName="/ppt/tags/tag32.xml" ContentType="application/vnd.openxmlformats-officedocument.presentationml.tags+xml"/>
  <Override PartName="/ppt/notesSlides/notesSlide10.xml" ContentType="application/vnd.openxmlformats-officedocument.presentationml.notesSlide+xml"/>
  <Override PartName="/ppt/charts/chart26.xml" ContentType="application/vnd.openxmlformats-officedocument.drawingml.chart+xml"/>
  <Override PartName="/ppt/theme/themeOverride16.xml" ContentType="application/vnd.openxmlformats-officedocument.themeOverride+xml"/>
  <Override PartName="/ppt/charts/chart27.xml" ContentType="application/vnd.openxmlformats-officedocument.drawingml.chart+xml"/>
  <Override PartName="/ppt/theme/themeOverride17.xml" ContentType="application/vnd.openxmlformats-officedocument.themeOverride+xml"/>
  <Override PartName="/ppt/charts/chart28.xml" ContentType="application/vnd.openxmlformats-officedocument.drawingml.chart+xml"/>
  <Override PartName="/ppt/theme/themeOverride18.xml" ContentType="application/vnd.openxmlformats-officedocument.themeOverride+xml"/>
  <Override PartName="/ppt/charts/chart29.xml" ContentType="application/vnd.openxmlformats-officedocument.drawingml.chart+xml"/>
  <Override PartName="/ppt/theme/themeOverride19.xml" ContentType="application/vnd.openxmlformats-officedocument.themeOverride+xml"/>
  <Override PartName="/ppt/charts/chart30.xml" ContentType="application/vnd.openxmlformats-officedocument.drawingml.chart+xml"/>
  <Override PartName="/ppt/charts/style8.xml" ContentType="application/vnd.ms-office.chartstyle+xml"/>
  <Override PartName="/ppt/charts/colors8.xml" ContentType="application/vnd.ms-office.chartcolorstyle+xml"/>
  <Override PartName="/ppt/charts/chart31.xml" ContentType="application/vnd.openxmlformats-officedocument.drawingml.chart+xml"/>
  <Override PartName="/ppt/charts/style9.xml" ContentType="application/vnd.ms-office.chartstyle+xml"/>
  <Override PartName="/ppt/charts/colors9.xml" ContentType="application/vnd.ms-office.chartcolorstyle+xml"/>
  <Override PartName="/ppt/tags/tag33.xml" ContentType="application/vnd.openxmlformats-officedocument.presentationml.tags+xml"/>
  <Override PartName="/ppt/notesSlides/notesSlide11.xml" ContentType="application/vnd.openxmlformats-officedocument.presentationml.notesSlide+xml"/>
  <Override PartName="/ppt/charts/chart3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Ex1.xml" ContentType="application/vnd.ms-office.chartex+xml"/>
  <Override PartName="/ppt/charts/style11.xml" ContentType="application/vnd.ms-office.chartstyle+xml"/>
  <Override PartName="/ppt/charts/colors11.xml" ContentType="application/vnd.ms-office.chartcolorstyle+xml"/>
  <Override PartName="/ppt/charts/chartEx2.xml" ContentType="application/vnd.ms-office.chartex+xml"/>
  <Override PartName="/ppt/charts/style12.xml" ContentType="application/vnd.ms-office.chartstyle+xml"/>
  <Override PartName="/ppt/charts/colors12.xml" ContentType="application/vnd.ms-office.chartcolorstyle+xml"/>
  <Override PartName="/ppt/charts/chartEx3.xml" ContentType="application/vnd.ms-office.chartex+xml"/>
  <Override PartName="/ppt/charts/style13.xml" ContentType="application/vnd.ms-office.chartstyle+xml"/>
  <Override PartName="/ppt/charts/colors13.xml" ContentType="application/vnd.ms-office.chartcolorstyle+xml"/>
  <Override PartName="/ppt/charts/chartEx4.xml" ContentType="application/vnd.ms-office.chartex+xml"/>
  <Override PartName="/ppt/charts/style14.xml" ContentType="application/vnd.ms-office.chartstyle+xml"/>
  <Override PartName="/ppt/charts/colors14.xml" ContentType="application/vnd.ms-office.chartcolorstyle+xml"/>
  <Override PartName="/ppt/tags/tag34.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34.xml" ContentType="application/vnd.openxmlformats-officedocument.drawingml.chart+xml"/>
  <Override PartName="/ppt/charts/style16.xml" ContentType="application/vnd.ms-office.chartstyle+xml"/>
  <Override PartName="/ppt/charts/colors16.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22"/>
  </p:notesMasterIdLst>
  <p:sldIdLst>
    <p:sldId id="2147473859" r:id="rId5"/>
    <p:sldId id="2147473866" r:id="rId6"/>
    <p:sldId id="2147473865" r:id="rId7"/>
    <p:sldId id="2147473867" r:id="rId8"/>
    <p:sldId id="2147473863" r:id="rId9"/>
    <p:sldId id="2147473891" r:id="rId10"/>
    <p:sldId id="2147473696" r:id="rId11"/>
    <p:sldId id="2147471730" r:id="rId12"/>
    <p:sldId id="2147473858" r:id="rId13"/>
    <p:sldId id="2147473837" r:id="rId14"/>
    <p:sldId id="2147473890" r:id="rId15"/>
    <p:sldId id="2147475165" r:id="rId16"/>
    <p:sldId id="2147475163" r:id="rId17"/>
    <p:sldId id="2147473803" r:id="rId18"/>
    <p:sldId id="2147475167" r:id="rId19"/>
    <p:sldId id="262" r:id="rId20"/>
    <p:sldId id="2147475168" r:id="rId2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E1EDC4-949C-4C9A-9207-A653EB98B0DF}" v="1549" dt="2024-11-19T09:09:44.4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20" d="100"/>
          <a:sy n="120" d="100"/>
        </p:scale>
        <p:origin x="67" y="-370"/>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772C8042-E127-47ED-B3E3-7C97FEADD95C}"/>
    <pc:docChg chg="undo redo custSel modSld addMainMaster delMainMaster">
      <pc:chgData name="Neriman EL HADIDI" userId="4b24840c-84b3-44ac-9131-ca3568cb403b" providerId="ADAL" clId="{772C8042-E127-47ED-B3E3-7C97FEADD95C}" dt="2024-11-01T08:27:41.538" v="27" actId="14100"/>
      <pc:docMkLst>
        <pc:docMk/>
      </pc:docMkLst>
      <pc:sldChg chg="addSp delSp">
        <pc:chgData name="Neriman EL HADIDI" userId="4b24840c-84b3-44ac-9131-ca3568cb403b" providerId="ADAL" clId="{772C8042-E127-47ED-B3E3-7C97FEADD95C}" dt="2024-11-01T08:21:57.827" v="11"/>
        <pc:sldMkLst>
          <pc:docMk/>
          <pc:sldMk cId="523371552" sldId="262"/>
        </pc:sldMkLst>
        <pc:spChg chg="add del">
          <ac:chgData name="Neriman EL HADIDI" userId="4b24840c-84b3-44ac-9131-ca3568cb403b" providerId="ADAL" clId="{772C8042-E127-47ED-B3E3-7C97FEADD95C}" dt="2024-11-01T08:21:57.827" v="11"/>
          <ac:spMkLst>
            <pc:docMk/>
            <pc:sldMk cId="523371552" sldId="262"/>
            <ac:spMk id="7" creationId="{EC638197-C04A-B1A6-BD3F-416E8A09E49D}"/>
          </ac:spMkLst>
        </pc:spChg>
      </pc:sldChg>
      <pc:sldChg chg="addSp delSp modSp">
        <pc:chgData name="Neriman EL HADIDI" userId="4b24840c-84b3-44ac-9131-ca3568cb403b" providerId="ADAL" clId="{772C8042-E127-47ED-B3E3-7C97FEADD95C}" dt="2024-11-01T08:25:18.836" v="17"/>
        <pc:sldMkLst>
          <pc:docMk/>
          <pc:sldMk cId="440384401" sldId="2147471730"/>
        </pc:sldMkLst>
        <pc:spChg chg="add del">
          <ac:chgData name="Neriman EL HADIDI" userId="4b24840c-84b3-44ac-9131-ca3568cb403b" providerId="ADAL" clId="{772C8042-E127-47ED-B3E3-7C97FEADD95C}" dt="2024-11-01T08:21:57.827" v="11"/>
          <ac:spMkLst>
            <pc:docMk/>
            <pc:sldMk cId="440384401" sldId="2147471730"/>
            <ac:spMk id="4" creationId="{27BB9750-D565-C78D-C8A3-8920C86FC313}"/>
          </ac:spMkLst>
        </pc:spChg>
        <pc:graphicFrameChg chg="mod">
          <ac:chgData name="Neriman EL HADIDI" userId="4b24840c-84b3-44ac-9131-ca3568cb403b" providerId="ADAL" clId="{772C8042-E127-47ED-B3E3-7C97FEADD95C}" dt="2024-11-01T08:25:08.220" v="15"/>
          <ac:graphicFrameMkLst>
            <pc:docMk/>
            <pc:sldMk cId="440384401" sldId="2147471730"/>
            <ac:graphicFrameMk id="12" creationId="{03DF09F2-4CD1-60A9-0F19-C576578C0BBE}"/>
          </ac:graphicFrameMkLst>
        </pc:graphicFrameChg>
        <pc:graphicFrameChg chg="mod">
          <ac:chgData name="Neriman EL HADIDI" userId="4b24840c-84b3-44ac-9131-ca3568cb403b" providerId="ADAL" clId="{772C8042-E127-47ED-B3E3-7C97FEADD95C}" dt="2024-11-01T08:25:18.836" v="17"/>
          <ac:graphicFrameMkLst>
            <pc:docMk/>
            <pc:sldMk cId="440384401" sldId="2147471730"/>
            <ac:graphicFrameMk id="27" creationId="{F3F5C626-4EA3-D080-237F-58D775C55866}"/>
          </ac:graphicFrameMkLst>
        </pc:graphicFrameChg>
        <pc:graphicFrameChg chg="mod">
          <ac:chgData name="Neriman EL HADIDI" userId="4b24840c-84b3-44ac-9131-ca3568cb403b" providerId="ADAL" clId="{772C8042-E127-47ED-B3E3-7C97FEADD95C}" dt="2024-11-01T08:25:13.759" v="16"/>
          <ac:graphicFrameMkLst>
            <pc:docMk/>
            <pc:sldMk cId="440384401" sldId="2147471730"/>
            <ac:graphicFrameMk id="38" creationId="{648E95B9-4B20-7F27-4172-6244EF99CCE0}"/>
          </ac:graphicFrameMkLst>
        </pc:graphicFrameChg>
      </pc:sldChg>
      <pc:sldChg chg="addSp delSp modSp">
        <pc:chgData name="Neriman EL HADIDI" userId="4b24840c-84b3-44ac-9131-ca3568cb403b" providerId="ADAL" clId="{772C8042-E127-47ED-B3E3-7C97FEADD95C}" dt="2024-11-01T08:25:00.328" v="14"/>
        <pc:sldMkLst>
          <pc:docMk/>
          <pc:sldMk cId="2861837392" sldId="2147473696"/>
        </pc:sldMkLst>
        <pc:spChg chg="add del">
          <ac:chgData name="Neriman EL HADIDI" userId="4b24840c-84b3-44ac-9131-ca3568cb403b" providerId="ADAL" clId="{772C8042-E127-47ED-B3E3-7C97FEADD95C}" dt="2024-11-01T08:21:57.827" v="11"/>
          <ac:spMkLst>
            <pc:docMk/>
            <pc:sldMk cId="2861837392" sldId="2147473696"/>
            <ac:spMk id="4" creationId="{27BB9750-D565-C78D-C8A3-8920C86FC313}"/>
          </ac:spMkLst>
        </pc:spChg>
        <pc:graphicFrameChg chg="mod">
          <ac:chgData name="Neriman EL HADIDI" userId="4b24840c-84b3-44ac-9131-ca3568cb403b" providerId="ADAL" clId="{772C8042-E127-47ED-B3E3-7C97FEADD95C}" dt="2024-11-01T08:24:54.716" v="13"/>
          <ac:graphicFrameMkLst>
            <pc:docMk/>
            <pc:sldMk cId="2861837392" sldId="2147473696"/>
            <ac:graphicFrameMk id="12" creationId="{03DF09F2-4CD1-60A9-0F19-C576578C0BBE}"/>
          </ac:graphicFrameMkLst>
        </pc:graphicFrameChg>
        <pc:graphicFrameChg chg="mod">
          <ac:chgData name="Neriman EL HADIDI" userId="4b24840c-84b3-44ac-9131-ca3568cb403b" providerId="ADAL" clId="{772C8042-E127-47ED-B3E3-7C97FEADD95C}" dt="2024-11-01T08:25:00.328" v="14"/>
          <ac:graphicFrameMkLst>
            <pc:docMk/>
            <pc:sldMk cId="2861837392" sldId="2147473696"/>
            <ac:graphicFrameMk id="38" creationId="{648E95B9-4B20-7F27-4172-6244EF99CCE0}"/>
          </ac:graphicFrameMkLst>
        </pc:graphicFrameChg>
      </pc:sldChg>
      <pc:sldChg chg="addSp delSp">
        <pc:chgData name="Neriman EL HADIDI" userId="4b24840c-84b3-44ac-9131-ca3568cb403b" providerId="ADAL" clId="{772C8042-E127-47ED-B3E3-7C97FEADD95C}" dt="2024-11-01T08:21:57.827" v="11"/>
        <pc:sldMkLst>
          <pc:docMk/>
          <pc:sldMk cId="91317114" sldId="2147473803"/>
        </pc:sldMkLst>
        <pc:spChg chg="add del">
          <ac:chgData name="Neriman EL HADIDI" userId="4b24840c-84b3-44ac-9131-ca3568cb403b" providerId="ADAL" clId="{772C8042-E127-47ED-B3E3-7C97FEADD95C}" dt="2024-11-01T08:21:57.827" v="11"/>
          <ac:spMkLst>
            <pc:docMk/>
            <pc:sldMk cId="91317114" sldId="2147473803"/>
            <ac:spMk id="12" creationId="{0FEC47BE-A87F-62EA-D89D-889223475FB6}"/>
          </ac:spMkLst>
        </pc:spChg>
      </pc:sldChg>
      <pc:sldChg chg="addSp delSp">
        <pc:chgData name="Neriman EL HADIDI" userId="4b24840c-84b3-44ac-9131-ca3568cb403b" providerId="ADAL" clId="{772C8042-E127-47ED-B3E3-7C97FEADD95C}" dt="2024-11-01T08:21:57.827" v="11"/>
        <pc:sldMkLst>
          <pc:docMk/>
          <pc:sldMk cId="3303576886" sldId="2147473837"/>
        </pc:sldMkLst>
        <pc:spChg chg="add del">
          <ac:chgData name="Neriman EL HADIDI" userId="4b24840c-84b3-44ac-9131-ca3568cb403b" providerId="ADAL" clId="{772C8042-E127-47ED-B3E3-7C97FEADD95C}" dt="2024-11-01T08:21:57.827" v="11"/>
          <ac:spMkLst>
            <pc:docMk/>
            <pc:sldMk cId="3303576886" sldId="2147473837"/>
            <ac:spMk id="10" creationId="{2CD467EB-1D92-90AB-B825-03A2E605F9FC}"/>
          </ac:spMkLst>
        </pc:spChg>
      </pc:sldChg>
      <pc:sldChg chg="addSp delSp modSp">
        <pc:chgData name="Neriman EL HADIDI" userId="4b24840c-84b3-44ac-9131-ca3568cb403b" providerId="ADAL" clId="{772C8042-E127-47ED-B3E3-7C97FEADD95C}" dt="2024-11-01T08:25:36.979" v="18"/>
        <pc:sldMkLst>
          <pc:docMk/>
          <pc:sldMk cId="526380450" sldId="2147473858"/>
        </pc:sldMkLst>
        <pc:spChg chg="add del">
          <ac:chgData name="Neriman EL HADIDI" userId="4b24840c-84b3-44ac-9131-ca3568cb403b" providerId="ADAL" clId="{772C8042-E127-47ED-B3E3-7C97FEADD95C}" dt="2024-11-01T08:21:57.827" v="11"/>
          <ac:spMkLst>
            <pc:docMk/>
            <pc:sldMk cId="526380450" sldId="2147473858"/>
            <ac:spMk id="9" creationId="{089DA731-D3CF-0913-8B4E-44B5E53A1567}"/>
          </ac:spMkLst>
        </pc:spChg>
        <pc:graphicFrameChg chg="mod">
          <ac:chgData name="Neriman EL HADIDI" userId="4b24840c-84b3-44ac-9131-ca3568cb403b" providerId="ADAL" clId="{772C8042-E127-47ED-B3E3-7C97FEADD95C}" dt="2024-11-01T08:25:36.979" v="18"/>
          <ac:graphicFrameMkLst>
            <pc:docMk/>
            <pc:sldMk cId="526380450" sldId="2147473858"/>
            <ac:graphicFrameMk id="2" creationId="{5159AF27-C69B-A0A1-12BD-5D8439C48238}"/>
          </ac:graphicFrameMkLst>
        </pc:graphicFrameChg>
      </pc:sldChg>
      <pc:sldChg chg="addSp delSp">
        <pc:chgData name="Neriman EL HADIDI" userId="4b24840c-84b3-44ac-9131-ca3568cb403b" providerId="ADAL" clId="{772C8042-E127-47ED-B3E3-7C97FEADD95C}" dt="2024-11-01T08:21:57.827" v="11"/>
        <pc:sldMkLst>
          <pc:docMk/>
          <pc:sldMk cId="1489660218" sldId="2147473859"/>
        </pc:sldMkLst>
        <pc:spChg chg="add del">
          <ac:chgData name="Neriman EL HADIDI" userId="4b24840c-84b3-44ac-9131-ca3568cb403b" providerId="ADAL" clId="{772C8042-E127-47ED-B3E3-7C97FEADD95C}" dt="2024-11-01T08:21:57.827" v="11"/>
          <ac:spMkLst>
            <pc:docMk/>
            <pc:sldMk cId="1489660218" sldId="2147473859"/>
            <ac:spMk id="7" creationId="{1E02A589-E4EF-7C4D-CE6C-9CB94CD72731}"/>
          </ac:spMkLst>
        </pc:spChg>
      </pc:sldChg>
      <pc:sldChg chg="addSp delSp modSp mod">
        <pc:chgData name="Neriman EL HADIDI" userId="4b24840c-84b3-44ac-9131-ca3568cb403b" providerId="ADAL" clId="{772C8042-E127-47ED-B3E3-7C97FEADD95C}" dt="2024-11-01T08:27:41.538" v="27" actId="14100"/>
        <pc:sldMkLst>
          <pc:docMk/>
          <pc:sldMk cId="2537877549" sldId="2147473863"/>
        </pc:sldMkLst>
        <pc:spChg chg="add del">
          <ac:chgData name="Neriman EL HADIDI" userId="4b24840c-84b3-44ac-9131-ca3568cb403b" providerId="ADAL" clId="{772C8042-E127-47ED-B3E3-7C97FEADD95C}" dt="2024-11-01T08:21:57.827" v="11"/>
          <ac:spMkLst>
            <pc:docMk/>
            <pc:sldMk cId="2537877549" sldId="2147473863"/>
            <ac:spMk id="12" creationId="{277AAF47-C83C-B442-B6B2-A3D2E2B271A3}"/>
          </ac:spMkLst>
        </pc:spChg>
        <pc:graphicFrameChg chg="mod">
          <ac:chgData name="Neriman EL HADIDI" userId="4b24840c-84b3-44ac-9131-ca3568cb403b" providerId="ADAL" clId="{772C8042-E127-47ED-B3E3-7C97FEADD95C}" dt="2024-11-01T08:27:33.548" v="25" actId="14100"/>
          <ac:graphicFrameMkLst>
            <pc:docMk/>
            <pc:sldMk cId="2537877549" sldId="2147473863"/>
            <ac:graphicFrameMk id="3" creationId="{D496125F-1032-DD6E-7DF7-18EE8950C9CF}"/>
          </ac:graphicFrameMkLst>
        </pc:graphicFrameChg>
        <pc:graphicFrameChg chg="mod">
          <ac:chgData name="Neriman EL HADIDI" userId="4b24840c-84b3-44ac-9131-ca3568cb403b" providerId="ADAL" clId="{772C8042-E127-47ED-B3E3-7C97FEADD95C}" dt="2024-11-01T08:27:22.599" v="23" actId="14100"/>
          <ac:graphicFrameMkLst>
            <pc:docMk/>
            <pc:sldMk cId="2537877549" sldId="2147473863"/>
            <ac:graphicFrameMk id="5" creationId="{7F30AADC-3E43-4C45-9F24-19ADDF70B62F}"/>
          </ac:graphicFrameMkLst>
        </pc:graphicFrameChg>
        <pc:graphicFrameChg chg="mod">
          <ac:chgData name="Neriman EL HADIDI" userId="4b24840c-84b3-44ac-9131-ca3568cb403b" providerId="ADAL" clId="{772C8042-E127-47ED-B3E3-7C97FEADD95C}" dt="2024-11-01T08:27:41.538" v="27" actId="14100"/>
          <ac:graphicFrameMkLst>
            <pc:docMk/>
            <pc:sldMk cId="2537877549" sldId="2147473863"/>
            <ac:graphicFrameMk id="6" creationId="{4E871FA1-C59D-321B-4F6B-21C892C04351}"/>
          </ac:graphicFrameMkLst>
        </pc:graphicFrameChg>
        <pc:graphicFrameChg chg="mod">
          <ac:chgData name="Neriman EL HADIDI" userId="4b24840c-84b3-44ac-9131-ca3568cb403b" providerId="ADAL" clId="{772C8042-E127-47ED-B3E3-7C97FEADD95C}" dt="2024-11-01T08:27:28.267" v="24" actId="14100"/>
          <ac:graphicFrameMkLst>
            <pc:docMk/>
            <pc:sldMk cId="2537877549" sldId="2147473863"/>
            <ac:graphicFrameMk id="9" creationId="{DC363333-B0A5-4CDB-895B-E400670F60EB}"/>
          </ac:graphicFrameMkLst>
        </pc:graphicFrameChg>
        <pc:graphicFrameChg chg="mod">
          <ac:chgData name="Neriman EL HADIDI" userId="4b24840c-84b3-44ac-9131-ca3568cb403b" providerId="ADAL" clId="{772C8042-E127-47ED-B3E3-7C97FEADD95C}" dt="2024-11-01T08:27:37.996" v="26" actId="14100"/>
          <ac:graphicFrameMkLst>
            <pc:docMk/>
            <pc:sldMk cId="2537877549" sldId="2147473863"/>
            <ac:graphicFrameMk id="56" creationId="{F7F24E6C-12AE-439F-A0E3-B0C57AA64F47}"/>
          </ac:graphicFrameMkLst>
        </pc:graphicFrameChg>
      </pc:sldChg>
      <pc:sldChg chg="addSp delSp">
        <pc:chgData name="Neriman EL HADIDI" userId="4b24840c-84b3-44ac-9131-ca3568cb403b" providerId="ADAL" clId="{772C8042-E127-47ED-B3E3-7C97FEADD95C}" dt="2024-11-01T08:21:57.827" v="11"/>
        <pc:sldMkLst>
          <pc:docMk/>
          <pc:sldMk cId="999493048" sldId="2147473865"/>
        </pc:sldMkLst>
        <pc:spChg chg="add del">
          <ac:chgData name="Neriman EL HADIDI" userId="4b24840c-84b3-44ac-9131-ca3568cb403b" providerId="ADAL" clId="{772C8042-E127-47ED-B3E3-7C97FEADD95C}" dt="2024-11-01T08:21:57.827" v="11"/>
          <ac:spMkLst>
            <pc:docMk/>
            <pc:sldMk cId="999493048" sldId="2147473865"/>
            <ac:spMk id="6" creationId="{8A66F40C-2E2A-6D5B-4089-EAE27E9682AB}"/>
          </ac:spMkLst>
        </pc:spChg>
      </pc:sldChg>
      <pc:sldChg chg="addSp delSp">
        <pc:chgData name="Neriman EL HADIDI" userId="4b24840c-84b3-44ac-9131-ca3568cb403b" providerId="ADAL" clId="{772C8042-E127-47ED-B3E3-7C97FEADD95C}" dt="2024-11-01T08:21:57.827" v="11"/>
        <pc:sldMkLst>
          <pc:docMk/>
          <pc:sldMk cId="106088379" sldId="2147473866"/>
        </pc:sldMkLst>
        <pc:spChg chg="add del">
          <ac:chgData name="Neriman EL HADIDI" userId="4b24840c-84b3-44ac-9131-ca3568cb403b" providerId="ADAL" clId="{772C8042-E127-47ED-B3E3-7C97FEADD95C}" dt="2024-11-01T08:21:57.827" v="11"/>
          <ac:spMkLst>
            <pc:docMk/>
            <pc:sldMk cId="106088379" sldId="2147473866"/>
            <ac:spMk id="7" creationId="{37C35038-A407-8957-E674-951B3AC54A69}"/>
          </ac:spMkLst>
        </pc:spChg>
      </pc:sldChg>
      <pc:sldChg chg="addSp delSp">
        <pc:chgData name="Neriman EL HADIDI" userId="4b24840c-84b3-44ac-9131-ca3568cb403b" providerId="ADAL" clId="{772C8042-E127-47ED-B3E3-7C97FEADD95C}" dt="2024-11-01T08:21:57.827" v="11"/>
        <pc:sldMkLst>
          <pc:docMk/>
          <pc:sldMk cId="2840028520" sldId="2147473867"/>
        </pc:sldMkLst>
        <pc:spChg chg="add del">
          <ac:chgData name="Neriman EL HADIDI" userId="4b24840c-84b3-44ac-9131-ca3568cb403b" providerId="ADAL" clId="{772C8042-E127-47ED-B3E3-7C97FEADD95C}" dt="2024-11-01T08:21:57.827" v="11"/>
          <ac:spMkLst>
            <pc:docMk/>
            <pc:sldMk cId="2840028520" sldId="2147473867"/>
            <ac:spMk id="5" creationId="{7A31163A-A2A5-74D6-29FA-A92A2AFC20E7}"/>
          </ac:spMkLst>
        </pc:spChg>
      </pc:sldChg>
      <pc:sldChg chg="addSp delSp">
        <pc:chgData name="Neriman EL HADIDI" userId="4b24840c-84b3-44ac-9131-ca3568cb403b" providerId="ADAL" clId="{772C8042-E127-47ED-B3E3-7C97FEADD95C}" dt="2024-11-01T08:21:57.827" v="11"/>
        <pc:sldMkLst>
          <pc:docMk/>
          <pc:sldMk cId="0" sldId="2147473890"/>
        </pc:sldMkLst>
        <pc:spChg chg="add del">
          <ac:chgData name="Neriman EL HADIDI" userId="4b24840c-84b3-44ac-9131-ca3568cb403b" providerId="ADAL" clId="{772C8042-E127-47ED-B3E3-7C97FEADD95C}" dt="2024-11-01T08:21:57.827" v="11"/>
          <ac:spMkLst>
            <pc:docMk/>
            <pc:sldMk cId="0" sldId="2147473890"/>
            <ac:spMk id="3" creationId="{227808F4-5737-7610-F86C-A6C985FB1F5C}"/>
          </ac:spMkLst>
        </pc:spChg>
      </pc:sldChg>
      <pc:sldChg chg="addSp delSp modSp">
        <pc:chgData name="Neriman EL HADIDI" userId="4b24840c-84b3-44ac-9131-ca3568cb403b" providerId="ADAL" clId="{772C8042-E127-47ED-B3E3-7C97FEADD95C}" dt="2024-11-01T08:24:46.090" v="12"/>
        <pc:sldMkLst>
          <pc:docMk/>
          <pc:sldMk cId="2360674465" sldId="2147473891"/>
        </pc:sldMkLst>
        <pc:spChg chg="add del">
          <ac:chgData name="Neriman EL HADIDI" userId="4b24840c-84b3-44ac-9131-ca3568cb403b" providerId="ADAL" clId="{772C8042-E127-47ED-B3E3-7C97FEADD95C}" dt="2024-11-01T08:21:57.827" v="11"/>
          <ac:spMkLst>
            <pc:docMk/>
            <pc:sldMk cId="2360674465" sldId="2147473891"/>
            <ac:spMk id="4" creationId="{27BB9750-D565-C78D-C8A3-8920C86FC313}"/>
          </ac:spMkLst>
        </pc:spChg>
        <pc:graphicFrameChg chg="mod">
          <ac:chgData name="Neriman EL HADIDI" userId="4b24840c-84b3-44ac-9131-ca3568cb403b" providerId="ADAL" clId="{772C8042-E127-47ED-B3E3-7C97FEADD95C}" dt="2024-11-01T08:24:46.090" v="12"/>
          <ac:graphicFrameMkLst>
            <pc:docMk/>
            <pc:sldMk cId="2360674465" sldId="2147473891"/>
            <ac:graphicFrameMk id="12" creationId="{03DF09F2-4CD1-60A9-0F19-C576578C0BBE}"/>
          </ac:graphicFrameMkLst>
        </pc:graphicFrameChg>
      </pc:sldChg>
      <pc:sldChg chg="addSp delSp modSp">
        <pc:chgData name="Neriman EL HADIDI" userId="4b24840c-84b3-44ac-9131-ca3568cb403b" providerId="ADAL" clId="{772C8042-E127-47ED-B3E3-7C97FEADD95C}" dt="2024-11-01T08:26:29.183" v="22"/>
        <pc:sldMkLst>
          <pc:docMk/>
          <pc:sldMk cId="407622133" sldId="2147475163"/>
        </pc:sldMkLst>
        <pc:spChg chg="add del">
          <ac:chgData name="Neriman EL HADIDI" userId="4b24840c-84b3-44ac-9131-ca3568cb403b" providerId="ADAL" clId="{772C8042-E127-47ED-B3E3-7C97FEADD95C}" dt="2024-11-01T08:21:57.827" v="11"/>
          <ac:spMkLst>
            <pc:docMk/>
            <pc:sldMk cId="407622133" sldId="2147475163"/>
            <ac:spMk id="12" creationId="{277AAF47-C83C-B442-B6B2-A3D2E2B271A3}"/>
          </ac:spMkLst>
        </pc:spChg>
        <pc:graphicFrameChg chg="mod">
          <ac:chgData name="Neriman EL HADIDI" userId="4b24840c-84b3-44ac-9131-ca3568cb403b" providerId="ADAL" clId="{772C8042-E127-47ED-B3E3-7C97FEADD95C}" dt="2024-11-01T08:26:14.879" v="21"/>
          <ac:graphicFrameMkLst>
            <pc:docMk/>
            <pc:sldMk cId="407622133" sldId="2147475163"/>
            <ac:graphicFrameMk id="10" creationId="{99D06A6F-750F-D9D3-5171-5E272FF00306}"/>
          </ac:graphicFrameMkLst>
        </pc:graphicFrameChg>
        <pc:graphicFrameChg chg="mod">
          <ac:chgData name="Neriman EL HADIDI" userId="4b24840c-84b3-44ac-9131-ca3568cb403b" providerId="ADAL" clId="{772C8042-E127-47ED-B3E3-7C97FEADD95C}" dt="2024-11-01T08:26:29.183" v="22"/>
          <ac:graphicFrameMkLst>
            <pc:docMk/>
            <pc:sldMk cId="407622133" sldId="2147475163"/>
            <ac:graphicFrameMk id="11" creationId="{9F1C35C6-D0AD-82C5-EB52-5916CAB8F76A}"/>
          </ac:graphicFrameMkLst>
        </pc:graphicFrameChg>
      </pc:sldChg>
      <pc:sldChg chg="addSp delSp modSp">
        <pc:chgData name="Neriman EL HADIDI" userId="4b24840c-84b3-44ac-9131-ca3568cb403b" providerId="ADAL" clId="{772C8042-E127-47ED-B3E3-7C97FEADD95C}" dt="2024-11-01T08:25:58.274" v="20"/>
        <pc:sldMkLst>
          <pc:docMk/>
          <pc:sldMk cId="3213014248" sldId="2147475165"/>
        </pc:sldMkLst>
        <pc:spChg chg="add del">
          <ac:chgData name="Neriman EL HADIDI" userId="4b24840c-84b3-44ac-9131-ca3568cb403b" providerId="ADAL" clId="{772C8042-E127-47ED-B3E3-7C97FEADD95C}" dt="2024-11-01T08:21:57.827" v="11"/>
          <ac:spMkLst>
            <pc:docMk/>
            <pc:sldMk cId="3213014248" sldId="2147475165"/>
            <ac:spMk id="12" creationId="{277AAF47-C83C-B442-B6B2-A3D2E2B271A3}"/>
          </ac:spMkLst>
        </pc:spChg>
        <pc:graphicFrameChg chg="mod">
          <ac:chgData name="Neriman EL HADIDI" userId="4b24840c-84b3-44ac-9131-ca3568cb403b" providerId="ADAL" clId="{772C8042-E127-47ED-B3E3-7C97FEADD95C}" dt="2024-11-01T08:25:52.519" v="19"/>
          <ac:graphicFrameMkLst>
            <pc:docMk/>
            <pc:sldMk cId="3213014248" sldId="2147475165"/>
            <ac:graphicFrameMk id="8" creationId="{2F6B651A-D28F-618D-747D-33FD80B604F9}"/>
          </ac:graphicFrameMkLst>
        </pc:graphicFrameChg>
        <pc:graphicFrameChg chg="mod">
          <ac:chgData name="Neriman EL HADIDI" userId="4b24840c-84b3-44ac-9131-ca3568cb403b" providerId="ADAL" clId="{772C8042-E127-47ED-B3E3-7C97FEADD95C}" dt="2024-11-01T08:25:58.274" v="20"/>
          <ac:graphicFrameMkLst>
            <pc:docMk/>
            <pc:sldMk cId="3213014248" sldId="2147475165"/>
            <ac:graphicFrameMk id="10" creationId="{A682ADE7-3DB8-E2F3-6BFE-C4FB5628ED4E}"/>
          </ac:graphicFrameMkLst>
        </pc:graphicFrameChg>
      </pc:sldChg>
      <pc:sldMasterChg chg="add del">
        <pc:chgData name="Neriman EL HADIDI" userId="4b24840c-84b3-44ac-9131-ca3568cb403b" providerId="ADAL" clId="{772C8042-E127-47ED-B3E3-7C97FEADD95C}" dt="2024-11-01T08:21:56.963" v="10" actId="2696"/>
        <pc:sldMasterMkLst>
          <pc:docMk/>
          <pc:sldMasterMk cId="823099819" sldId="2147483792"/>
        </pc:sldMasterMkLst>
      </pc:sldMasterChg>
    </pc:docChg>
  </pc:docChgLst>
  <pc:docChgLst>
    <pc:chgData name="Sophie  ZIMMERMANN" userId="a3ccab47-c860-43ce-9c7d-ef7907b0df29" providerId="ADAL" clId="{F2AD018D-2F94-458E-BBBB-0C4277BC07C9}"/>
    <pc:docChg chg="undo custSel modSld">
      <pc:chgData name="Sophie  ZIMMERMANN" userId="a3ccab47-c860-43ce-9c7d-ef7907b0df29" providerId="ADAL" clId="{F2AD018D-2F94-458E-BBBB-0C4277BC07C9}" dt="2024-11-01T08:24:01.787" v="29" actId="27918"/>
      <pc:docMkLst>
        <pc:docMk/>
      </pc:docMkLst>
      <pc:sldChg chg="modSp mod">
        <pc:chgData name="Sophie  ZIMMERMANN" userId="a3ccab47-c860-43ce-9c7d-ef7907b0df29" providerId="ADAL" clId="{F2AD018D-2F94-458E-BBBB-0C4277BC07C9}" dt="2024-11-01T07:36:39.853" v="26" actId="207"/>
        <pc:sldMkLst>
          <pc:docMk/>
          <pc:sldMk cId="523371552" sldId="262"/>
        </pc:sldMkLst>
        <pc:spChg chg="mod">
          <ac:chgData name="Sophie  ZIMMERMANN" userId="a3ccab47-c860-43ce-9c7d-ef7907b0df29" providerId="ADAL" clId="{F2AD018D-2F94-458E-BBBB-0C4277BC07C9}" dt="2024-11-01T07:36:39.853" v="26" actId="207"/>
          <ac:spMkLst>
            <pc:docMk/>
            <pc:sldMk cId="523371552" sldId="262"/>
            <ac:spMk id="6" creationId="{0FB2DBD1-2F5E-0099-3915-1F783D490F0F}"/>
          </ac:spMkLst>
        </pc:spChg>
      </pc:sldChg>
      <pc:sldChg chg="modSp mod">
        <pc:chgData name="Sophie  ZIMMERMANN" userId="a3ccab47-c860-43ce-9c7d-ef7907b0df29" providerId="ADAL" clId="{F2AD018D-2F94-458E-BBBB-0C4277BC07C9}" dt="2024-11-01T07:35:58.236" v="17" actId="207"/>
        <pc:sldMkLst>
          <pc:docMk/>
          <pc:sldMk cId="440384401" sldId="2147471730"/>
        </pc:sldMkLst>
        <pc:spChg chg="mod">
          <ac:chgData name="Sophie  ZIMMERMANN" userId="a3ccab47-c860-43ce-9c7d-ef7907b0df29" providerId="ADAL" clId="{F2AD018D-2F94-458E-BBBB-0C4277BC07C9}" dt="2024-11-01T07:35:58.236" v="17" actId="207"/>
          <ac:spMkLst>
            <pc:docMk/>
            <pc:sldMk cId="440384401" sldId="2147471730"/>
            <ac:spMk id="2" creationId="{0A883C56-5E1F-E0CD-5E27-1BA77FBA39C8}"/>
          </ac:spMkLst>
        </pc:spChg>
      </pc:sldChg>
      <pc:sldChg chg="modSp mod">
        <pc:chgData name="Sophie  ZIMMERMANN" userId="a3ccab47-c860-43ce-9c7d-ef7907b0df29" providerId="ADAL" clId="{F2AD018D-2F94-458E-BBBB-0C4277BC07C9}" dt="2024-11-01T07:35:54.930" v="16" actId="207"/>
        <pc:sldMkLst>
          <pc:docMk/>
          <pc:sldMk cId="2861837392" sldId="2147473696"/>
        </pc:sldMkLst>
        <pc:spChg chg="mod">
          <ac:chgData name="Sophie  ZIMMERMANN" userId="a3ccab47-c860-43ce-9c7d-ef7907b0df29" providerId="ADAL" clId="{F2AD018D-2F94-458E-BBBB-0C4277BC07C9}" dt="2024-11-01T07:35:54.930" v="16" actId="207"/>
          <ac:spMkLst>
            <pc:docMk/>
            <pc:sldMk cId="2861837392" sldId="2147473696"/>
            <ac:spMk id="2" creationId="{0A883C56-5E1F-E0CD-5E27-1BA77FBA39C8}"/>
          </ac:spMkLst>
        </pc:spChg>
      </pc:sldChg>
      <pc:sldChg chg="modSp mod">
        <pc:chgData name="Sophie  ZIMMERMANN" userId="a3ccab47-c860-43ce-9c7d-ef7907b0df29" providerId="ADAL" clId="{F2AD018D-2F94-458E-BBBB-0C4277BC07C9}" dt="2024-11-01T07:36:34.156" v="25" actId="207"/>
        <pc:sldMkLst>
          <pc:docMk/>
          <pc:sldMk cId="91317114" sldId="2147473803"/>
        </pc:sldMkLst>
        <pc:spChg chg="mod">
          <ac:chgData name="Sophie  ZIMMERMANN" userId="a3ccab47-c860-43ce-9c7d-ef7907b0df29" providerId="ADAL" clId="{F2AD018D-2F94-458E-BBBB-0C4277BC07C9}" dt="2024-11-01T07:36:34.156" v="25" actId="207"/>
          <ac:spMkLst>
            <pc:docMk/>
            <pc:sldMk cId="91317114" sldId="2147473803"/>
            <ac:spMk id="2" creationId="{35E2219C-C47D-B88F-3DE7-A0B36B75952E}"/>
          </ac:spMkLst>
        </pc:spChg>
        <pc:spChg chg="mod">
          <ac:chgData name="Sophie  ZIMMERMANN" userId="a3ccab47-c860-43ce-9c7d-ef7907b0df29" providerId="ADAL" clId="{F2AD018D-2F94-458E-BBBB-0C4277BC07C9}" dt="2024-11-01T07:34:44.404" v="1" actId="27636"/>
          <ac:spMkLst>
            <pc:docMk/>
            <pc:sldMk cId="91317114" sldId="2147473803"/>
            <ac:spMk id="3" creationId="{19E83EBD-6DC8-7916-86A1-B36B5BA89CA1}"/>
          </ac:spMkLst>
        </pc:spChg>
      </pc:sldChg>
      <pc:sldChg chg="modSp mod">
        <pc:chgData name="Sophie  ZIMMERMANN" userId="a3ccab47-c860-43ce-9c7d-ef7907b0df29" providerId="ADAL" clId="{F2AD018D-2F94-458E-BBBB-0C4277BC07C9}" dt="2024-11-01T07:36:07.665" v="19" actId="207"/>
        <pc:sldMkLst>
          <pc:docMk/>
          <pc:sldMk cId="3303576886" sldId="2147473837"/>
        </pc:sldMkLst>
        <pc:spChg chg="mod">
          <ac:chgData name="Sophie  ZIMMERMANN" userId="a3ccab47-c860-43ce-9c7d-ef7907b0df29" providerId="ADAL" clId="{F2AD018D-2F94-458E-BBBB-0C4277BC07C9}" dt="2024-11-01T07:36:07.665" v="19" actId="207"/>
          <ac:spMkLst>
            <pc:docMk/>
            <pc:sldMk cId="3303576886" sldId="2147473837"/>
            <ac:spMk id="2" creationId="{96D425AE-83DC-4AAC-A6BB-AFB7CA189407}"/>
          </ac:spMkLst>
        </pc:spChg>
      </pc:sldChg>
      <pc:sldChg chg="modSp mod">
        <pc:chgData name="Sophie  ZIMMERMANN" userId="a3ccab47-c860-43ce-9c7d-ef7907b0df29" providerId="ADAL" clId="{F2AD018D-2F94-458E-BBBB-0C4277BC07C9}" dt="2024-11-01T07:36:02.014" v="18" actId="207"/>
        <pc:sldMkLst>
          <pc:docMk/>
          <pc:sldMk cId="526380450" sldId="2147473858"/>
        </pc:sldMkLst>
        <pc:spChg chg="mod">
          <ac:chgData name="Sophie  ZIMMERMANN" userId="a3ccab47-c860-43ce-9c7d-ef7907b0df29" providerId="ADAL" clId="{F2AD018D-2F94-458E-BBBB-0C4277BC07C9}" dt="2024-11-01T07:36:02.014" v="18" actId="207"/>
          <ac:spMkLst>
            <pc:docMk/>
            <pc:sldMk cId="526380450" sldId="2147473858"/>
            <ac:spMk id="5" creationId="{6BC1CAD5-3663-4DA1-A1F5-FEFABB5F70F0}"/>
          </ac:spMkLst>
        </pc:spChg>
      </pc:sldChg>
      <pc:sldChg chg="modSp mod">
        <pc:chgData name="Sophie  ZIMMERMANN" userId="a3ccab47-c860-43ce-9c7d-ef7907b0df29" providerId="ADAL" clId="{F2AD018D-2F94-458E-BBBB-0C4277BC07C9}" dt="2024-11-01T07:35:29.593" v="9" actId="13926"/>
        <pc:sldMkLst>
          <pc:docMk/>
          <pc:sldMk cId="1489660218" sldId="2147473859"/>
        </pc:sldMkLst>
        <pc:spChg chg="mod">
          <ac:chgData name="Sophie  ZIMMERMANN" userId="a3ccab47-c860-43ce-9c7d-ef7907b0df29" providerId="ADAL" clId="{F2AD018D-2F94-458E-BBBB-0C4277BC07C9}" dt="2024-11-01T07:35:10.590" v="3" actId="207"/>
          <ac:spMkLst>
            <pc:docMk/>
            <pc:sldMk cId="1489660218" sldId="2147473859"/>
            <ac:spMk id="2" creationId="{375D922C-441A-4C67-91C2-A48484644B39}"/>
          </ac:spMkLst>
        </pc:spChg>
        <pc:spChg chg="mod">
          <ac:chgData name="Sophie  ZIMMERMANN" userId="a3ccab47-c860-43ce-9c7d-ef7907b0df29" providerId="ADAL" clId="{F2AD018D-2F94-458E-BBBB-0C4277BC07C9}" dt="2024-11-01T07:35:29.593" v="9" actId="13926"/>
          <ac:spMkLst>
            <pc:docMk/>
            <pc:sldMk cId="1489660218" sldId="2147473859"/>
            <ac:spMk id="17" creationId="{402F5B75-EDCF-4DA3-D759-4A8E93D42CBC}"/>
          </ac:spMkLst>
        </pc:spChg>
      </pc:sldChg>
      <pc:sldChg chg="modSp mod">
        <pc:chgData name="Sophie  ZIMMERMANN" userId="a3ccab47-c860-43ce-9c7d-ef7907b0df29" providerId="ADAL" clId="{F2AD018D-2F94-458E-BBBB-0C4277BC07C9}" dt="2024-11-01T07:35:45.863" v="14" actId="207"/>
        <pc:sldMkLst>
          <pc:docMk/>
          <pc:sldMk cId="2537877549" sldId="2147473863"/>
        </pc:sldMkLst>
        <pc:spChg chg="mod">
          <ac:chgData name="Sophie  ZIMMERMANN" userId="a3ccab47-c860-43ce-9c7d-ef7907b0df29" providerId="ADAL" clId="{F2AD018D-2F94-458E-BBBB-0C4277BC07C9}" dt="2024-11-01T07:35:45.863" v="14" actId="207"/>
          <ac:spMkLst>
            <pc:docMk/>
            <pc:sldMk cId="2537877549" sldId="2147473863"/>
            <ac:spMk id="4" creationId="{CBD249FA-FC74-49F6-8E91-79569674609C}"/>
          </ac:spMkLst>
        </pc:spChg>
      </pc:sldChg>
      <pc:sldChg chg="modSp mod">
        <pc:chgData name="Sophie  ZIMMERMANN" userId="a3ccab47-c860-43ce-9c7d-ef7907b0df29" providerId="ADAL" clId="{F2AD018D-2F94-458E-BBBB-0C4277BC07C9}" dt="2024-11-01T07:35:37.298" v="12" actId="207"/>
        <pc:sldMkLst>
          <pc:docMk/>
          <pc:sldMk cId="999493048" sldId="2147473865"/>
        </pc:sldMkLst>
        <pc:spChg chg="mod">
          <ac:chgData name="Sophie  ZIMMERMANN" userId="a3ccab47-c860-43ce-9c7d-ef7907b0df29" providerId="ADAL" clId="{F2AD018D-2F94-458E-BBBB-0C4277BC07C9}" dt="2024-11-01T07:35:37.298" v="12" actId="207"/>
          <ac:spMkLst>
            <pc:docMk/>
            <pc:sldMk cId="999493048" sldId="2147473865"/>
            <ac:spMk id="2" creationId="{DFF7124B-570C-428B-8946-293ABE1ACF02}"/>
          </ac:spMkLst>
        </pc:spChg>
      </pc:sldChg>
      <pc:sldChg chg="modSp mod">
        <pc:chgData name="Sophie  ZIMMERMANN" userId="a3ccab47-c860-43ce-9c7d-ef7907b0df29" providerId="ADAL" clId="{F2AD018D-2F94-458E-BBBB-0C4277BC07C9}" dt="2024-11-01T07:35:30.998" v="11" actId="13926"/>
        <pc:sldMkLst>
          <pc:docMk/>
          <pc:sldMk cId="106088379" sldId="2147473866"/>
        </pc:sldMkLst>
        <pc:spChg chg="mod">
          <ac:chgData name="Sophie  ZIMMERMANN" userId="a3ccab47-c860-43ce-9c7d-ef7907b0df29" providerId="ADAL" clId="{F2AD018D-2F94-458E-BBBB-0C4277BC07C9}" dt="2024-11-01T07:35:16.476" v="5" actId="20577"/>
          <ac:spMkLst>
            <pc:docMk/>
            <pc:sldMk cId="106088379" sldId="2147473866"/>
            <ac:spMk id="2" creationId="{003F985F-5230-44F6-95BD-5A958B6AE682}"/>
          </ac:spMkLst>
        </pc:spChg>
        <pc:spChg chg="mod">
          <ac:chgData name="Sophie  ZIMMERMANN" userId="a3ccab47-c860-43ce-9c7d-ef7907b0df29" providerId="ADAL" clId="{F2AD018D-2F94-458E-BBBB-0C4277BC07C9}" dt="2024-11-01T07:35:30.998" v="11" actId="13926"/>
          <ac:spMkLst>
            <pc:docMk/>
            <pc:sldMk cId="106088379" sldId="2147473866"/>
            <ac:spMk id="6" creationId="{DDF0689F-E50E-4EBA-A8CA-86418EA195B7}"/>
          </ac:spMkLst>
        </pc:spChg>
      </pc:sldChg>
      <pc:sldChg chg="modSp mod">
        <pc:chgData name="Sophie  ZIMMERMANN" userId="a3ccab47-c860-43ce-9c7d-ef7907b0df29" providerId="ADAL" clId="{F2AD018D-2F94-458E-BBBB-0C4277BC07C9}" dt="2024-11-01T07:35:41.131" v="13" actId="207"/>
        <pc:sldMkLst>
          <pc:docMk/>
          <pc:sldMk cId="2840028520" sldId="2147473867"/>
        </pc:sldMkLst>
        <pc:spChg chg="mod">
          <ac:chgData name="Sophie  ZIMMERMANN" userId="a3ccab47-c860-43ce-9c7d-ef7907b0df29" providerId="ADAL" clId="{F2AD018D-2F94-458E-BBBB-0C4277BC07C9}" dt="2024-11-01T07:35:41.131" v="13" actId="207"/>
          <ac:spMkLst>
            <pc:docMk/>
            <pc:sldMk cId="2840028520" sldId="2147473867"/>
            <ac:spMk id="9" creationId="{F9CDADCF-CDED-491A-B12E-733913463598}"/>
          </ac:spMkLst>
        </pc:spChg>
      </pc:sldChg>
      <pc:sldChg chg="modSp mod">
        <pc:chgData name="Sophie  ZIMMERMANN" userId="a3ccab47-c860-43ce-9c7d-ef7907b0df29" providerId="ADAL" clId="{F2AD018D-2F94-458E-BBBB-0C4277BC07C9}" dt="2024-11-01T07:36:13.473" v="20" actId="207"/>
        <pc:sldMkLst>
          <pc:docMk/>
          <pc:sldMk cId="0" sldId="2147473890"/>
        </pc:sldMkLst>
        <pc:spChg chg="mod">
          <ac:chgData name="Sophie  ZIMMERMANN" userId="a3ccab47-c860-43ce-9c7d-ef7907b0df29" providerId="ADAL" clId="{F2AD018D-2F94-458E-BBBB-0C4277BC07C9}" dt="2024-11-01T07:36:13.473" v="20" actId="207"/>
          <ac:spMkLst>
            <pc:docMk/>
            <pc:sldMk cId="0" sldId="2147473890"/>
            <ac:spMk id="9" creationId="{F9CDADCF-CDED-491A-B12E-733913463598}"/>
          </ac:spMkLst>
        </pc:spChg>
      </pc:sldChg>
      <pc:sldChg chg="modSp mod">
        <pc:chgData name="Sophie  ZIMMERMANN" userId="a3ccab47-c860-43ce-9c7d-ef7907b0df29" providerId="ADAL" clId="{F2AD018D-2F94-458E-BBBB-0C4277BC07C9}" dt="2024-11-01T08:24:01.787" v="29" actId="27918"/>
        <pc:sldMkLst>
          <pc:docMk/>
          <pc:sldMk cId="2360674465" sldId="2147473891"/>
        </pc:sldMkLst>
        <pc:spChg chg="mod">
          <ac:chgData name="Sophie  ZIMMERMANN" userId="a3ccab47-c860-43ce-9c7d-ef7907b0df29" providerId="ADAL" clId="{F2AD018D-2F94-458E-BBBB-0C4277BC07C9}" dt="2024-11-01T07:35:50.180" v="15" actId="207"/>
          <ac:spMkLst>
            <pc:docMk/>
            <pc:sldMk cId="2360674465" sldId="2147473891"/>
            <ac:spMk id="2" creationId="{0A883C56-5E1F-E0CD-5E27-1BA77FBA39C8}"/>
          </ac:spMkLst>
        </pc:spChg>
      </pc:sldChg>
      <pc:sldChg chg="modSp mod">
        <pc:chgData name="Sophie  ZIMMERMANN" userId="a3ccab47-c860-43ce-9c7d-ef7907b0df29" providerId="ADAL" clId="{F2AD018D-2F94-458E-BBBB-0C4277BC07C9}" dt="2024-11-01T07:36:23.203" v="24" actId="20577"/>
        <pc:sldMkLst>
          <pc:docMk/>
          <pc:sldMk cId="407622133" sldId="2147475163"/>
        </pc:sldMkLst>
        <pc:spChg chg="mod">
          <ac:chgData name="Sophie  ZIMMERMANN" userId="a3ccab47-c860-43ce-9c7d-ef7907b0df29" providerId="ADAL" clId="{F2AD018D-2F94-458E-BBBB-0C4277BC07C9}" dt="2024-11-01T07:36:23.203" v="24" actId="20577"/>
          <ac:spMkLst>
            <pc:docMk/>
            <pc:sldMk cId="407622133" sldId="2147475163"/>
            <ac:spMk id="4" creationId="{CBD249FA-FC74-49F6-8E91-79569674609C}"/>
          </ac:spMkLst>
        </pc:spChg>
      </pc:sldChg>
      <pc:sldChg chg="modSp mod">
        <pc:chgData name="Sophie  ZIMMERMANN" userId="a3ccab47-c860-43ce-9c7d-ef7907b0df29" providerId="ADAL" clId="{F2AD018D-2F94-458E-BBBB-0C4277BC07C9}" dt="2024-11-01T07:36:18.587" v="21" actId="207"/>
        <pc:sldMkLst>
          <pc:docMk/>
          <pc:sldMk cId="3213014248" sldId="2147475165"/>
        </pc:sldMkLst>
        <pc:spChg chg="mod">
          <ac:chgData name="Sophie  ZIMMERMANN" userId="a3ccab47-c860-43ce-9c7d-ef7907b0df29" providerId="ADAL" clId="{F2AD018D-2F94-458E-BBBB-0C4277BC07C9}" dt="2024-11-01T07:36:18.587" v="21" actId="207"/>
          <ac:spMkLst>
            <pc:docMk/>
            <pc:sldMk cId="3213014248" sldId="2147475165"/>
            <ac:spMk id="4" creationId="{CBD249FA-FC74-49F6-8E91-79569674609C}"/>
          </ac:spMkLst>
        </pc:spChg>
      </pc:sldChg>
    </pc:docChg>
  </pc:docChgLst>
  <pc:docChgLst>
    <pc:chgData name="Sophie  ZIMMERMANN" userId="a3ccab47-c860-43ce-9c7d-ef7907b0df29" providerId="ADAL" clId="{AB066A46-0E69-4DCD-8CD2-584000E3ED5E}"/>
    <pc:docChg chg="modSld">
      <pc:chgData name="Sophie  ZIMMERMANN" userId="a3ccab47-c860-43ce-9c7d-ef7907b0df29" providerId="ADAL" clId="{AB066A46-0E69-4DCD-8CD2-584000E3ED5E}" dt="2024-11-15T12:18:29.307" v="75"/>
      <pc:docMkLst>
        <pc:docMk/>
      </pc:docMkLst>
      <pc:sldChg chg="modSp">
        <pc:chgData name="Sophie  ZIMMERMANN" userId="a3ccab47-c860-43ce-9c7d-ef7907b0df29" providerId="ADAL" clId="{AB066A46-0E69-4DCD-8CD2-584000E3ED5E}" dt="2024-11-15T12:18:14.241" v="73"/>
        <pc:sldMkLst>
          <pc:docMk/>
          <pc:sldMk cId="523371552" sldId="262"/>
        </pc:sldMkLst>
        <pc:graphicFrameChg chg="modGraphic">
          <ac:chgData name="Sophie  ZIMMERMANN" userId="a3ccab47-c860-43ce-9c7d-ef7907b0df29" providerId="ADAL" clId="{AB066A46-0E69-4DCD-8CD2-584000E3ED5E}" dt="2024-11-15T12:18:18.191" v="74"/>
          <ac:graphicFrameMkLst>
            <pc:docMk/>
            <pc:sldMk cId="523371552" sldId="262"/>
            <ac:graphicFrameMk id="12" creationId="{93759828-74D1-CEE5-30AA-5C9D03FBF4BA}"/>
          </ac:graphicFrameMkLst>
        </pc:graphicFrameChg>
        <pc:graphicFrameChg chg="modGraphic">
          <ac:chgData name="Sophie  ZIMMERMANN" userId="a3ccab47-c860-43ce-9c7d-ef7907b0df29" providerId="ADAL" clId="{AB066A46-0E69-4DCD-8CD2-584000E3ED5E}" dt="2024-11-15T12:18:14.241" v="73"/>
          <ac:graphicFrameMkLst>
            <pc:docMk/>
            <pc:sldMk cId="523371552" sldId="262"/>
            <ac:graphicFrameMk id="13" creationId="{471565E5-5F5D-7996-8FD2-AB2B3C134740}"/>
          </ac:graphicFrameMkLst>
        </pc:graphicFrameChg>
      </pc:sldChg>
    </pc:docChg>
  </pc:docChgLst>
  <pc:docChgLst>
    <pc:chgData name="Raphaella ASHRAF" userId="5247841d-d595-4c30-b58a-9906097315c5" providerId="ADAL" clId="{49E1EDC4-949C-4C9A-9207-A653EB98B0DF}"/>
    <pc:docChg chg="custSel addSld delSld modSld sldOrd">
      <pc:chgData name="Raphaella ASHRAF" userId="5247841d-d595-4c30-b58a-9906097315c5" providerId="ADAL" clId="{49E1EDC4-949C-4C9A-9207-A653EB98B0DF}" dt="2024-11-19T09:17:25.947" v="4768" actId="47"/>
      <pc:docMkLst>
        <pc:docMk/>
      </pc:docMkLst>
      <pc:sldChg chg="add del ord">
        <pc:chgData name="Raphaella ASHRAF" userId="5247841d-d595-4c30-b58a-9906097315c5" providerId="ADAL" clId="{49E1EDC4-949C-4C9A-9207-A653EB98B0DF}" dt="2024-11-19T09:14:13.499" v="4766" actId="47"/>
        <pc:sldMkLst>
          <pc:docMk/>
          <pc:sldMk cId="2145169043" sldId="2147475166"/>
        </pc:sldMkLst>
      </pc:sldChg>
      <pc:sldChg chg="add del ord">
        <pc:chgData name="Raphaella ASHRAF" userId="5247841d-d595-4c30-b58a-9906097315c5" providerId="ADAL" clId="{49E1EDC4-949C-4C9A-9207-A653EB98B0DF}" dt="2024-11-19T09:14:13.499" v="4766" actId="47"/>
        <pc:sldMkLst>
          <pc:docMk/>
          <pc:sldMk cId="1532235590" sldId="2147475167"/>
        </pc:sldMkLst>
      </pc:sldChg>
      <pc:sldChg chg="add del ord">
        <pc:chgData name="Raphaella ASHRAF" userId="5247841d-d595-4c30-b58a-9906097315c5" providerId="ADAL" clId="{49E1EDC4-949C-4C9A-9207-A653EB98B0DF}" dt="2024-11-19T09:14:13.499" v="4766" actId="47"/>
        <pc:sldMkLst>
          <pc:docMk/>
          <pc:sldMk cId="1263630829" sldId="2147475168"/>
        </pc:sldMkLst>
      </pc:sldChg>
      <pc:sldChg chg="add del ord">
        <pc:chgData name="Raphaella ASHRAF" userId="5247841d-d595-4c30-b58a-9906097315c5" providerId="ADAL" clId="{49E1EDC4-949C-4C9A-9207-A653EB98B0DF}" dt="2024-11-19T09:14:13.499" v="4766" actId="47"/>
        <pc:sldMkLst>
          <pc:docMk/>
          <pc:sldMk cId="2333745539" sldId="2147475169"/>
        </pc:sldMkLst>
      </pc:sldChg>
      <pc:sldChg chg="add del ord">
        <pc:chgData name="Raphaella ASHRAF" userId="5247841d-d595-4c30-b58a-9906097315c5" providerId="ADAL" clId="{49E1EDC4-949C-4C9A-9207-A653EB98B0DF}" dt="2024-11-19T09:14:13.499" v="4766" actId="47"/>
        <pc:sldMkLst>
          <pc:docMk/>
          <pc:sldMk cId="2658637388" sldId="2147475170"/>
        </pc:sldMkLst>
      </pc:sldChg>
      <pc:sldChg chg="add del ord">
        <pc:chgData name="Raphaella ASHRAF" userId="5247841d-d595-4c30-b58a-9906097315c5" providerId="ADAL" clId="{49E1EDC4-949C-4C9A-9207-A653EB98B0DF}" dt="2024-11-19T09:14:13.499" v="4766" actId="47"/>
        <pc:sldMkLst>
          <pc:docMk/>
          <pc:sldMk cId="2604706149" sldId="2147475171"/>
        </pc:sldMkLst>
      </pc:sldChg>
      <pc:sldChg chg="add del ord">
        <pc:chgData name="Raphaella ASHRAF" userId="5247841d-d595-4c30-b58a-9906097315c5" providerId="ADAL" clId="{49E1EDC4-949C-4C9A-9207-A653EB98B0DF}" dt="2024-11-19T09:14:13.499" v="4766" actId="47"/>
        <pc:sldMkLst>
          <pc:docMk/>
          <pc:sldMk cId="1736090765" sldId="2147475172"/>
        </pc:sldMkLst>
      </pc:sldChg>
      <pc:sldChg chg="add del ord">
        <pc:chgData name="Raphaella ASHRAF" userId="5247841d-d595-4c30-b58a-9906097315c5" providerId="ADAL" clId="{49E1EDC4-949C-4C9A-9207-A653EB98B0DF}" dt="2024-11-19T09:14:13.499" v="4766" actId="47"/>
        <pc:sldMkLst>
          <pc:docMk/>
          <pc:sldMk cId="436617398" sldId="2147475173"/>
        </pc:sldMkLst>
      </pc:sldChg>
      <pc:sldChg chg="add del ord">
        <pc:chgData name="Raphaella ASHRAF" userId="5247841d-d595-4c30-b58a-9906097315c5" providerId="ADAL" clId="{49E1EDC4-949C-4C9A-9207-A653EB98B0DF}" dt="2024-11-19T09:14:13.499" v="4766" actId="47"/>
        <pc:sldMkLst>
          <pc:docMk/>
          <pc:sldMk cId="3005502425" sldId="2147475174"/>
        </pc:sldMkLst>
      </pc:sldChg>
      <pc:sldChg chg="add del ord">
        <pc:chgData name="Raphaella ASHRAF" userId="5247841d-d595-4c30-b58a-9906097315c5" providerId="ADAL" clId="{49E1EDC4-949C-4C9A-9207-A653EB98B0DF}" dt="2024-11-19T09:14:13.499" v="4766" actId="47"/>
        <pc:sldMkLst>
          <pc:docMk/>
          <pc:sldMk cId="113747087" sldId="2147475175"/>
        </pc:sldMkLst>
      </pc:sldChg>
      <pc:sldChg chg="add del ord">
        <pc:chgData name="Raphaella ASHRAF" userId="5247841d-d595-4c30-b58a-9906097315c5" providerId="ADAL" clId="{49E1EDC4-949C-4C9A-9207-A653EB98B0DF}" dt="2024-11-19T09:14:13.499" v="4766" actId="47"/>
        <pc:sldMkLst>
          <pc:docMk/>
          <pc:sldMk cId="1618543542" sldId="2147475176"/>
        </pc:sldMkLst>
      </pc:sldChg>
      <pc:sldChg chg="add del ord">
        <pc:chgData name="Raphaella ASHRAF" userId="5247841d-d595-4c30-b58a-9906097315c5" providerId="ADAL" clId="{49E1EDC4-949C-4C9A-9207-A653EB98B0DF}" dt="2024-11-19T09:14:13.499" v="4766" actId="47"/>
        <pc:sldMkLst>
          <pc:docMk/>
          <pc:sldMk cId="2267451100" sldId="2147475177"/>
        </pc:sldMkLst>
      </pc:sldChg>
      <pc:sldChg chg="add del ord">
        <pc:chgData name="Raphaella ASHRAF" userId="5247841d-d595-4c30-b58a-9906097315c5" providerId="ADAL" clId="{49E1EDC4-949C-4C9A-9207-A653EB98B0DF}" dt="2024-11-19T09:14:13.499" v="4766" actId="47"/>
        <pc:sldMkLst>
          <pc:docMk/>
          <pc:sldMk cId="1609161974" sldId="2147475178"/>
        </pc:sldMkLst>
      </pc:sldChg>
      <pc:sldChg chg="add del ord">
        <pc:chgData name="Raphaella ASHRAF" userId="5247841d-d595-4c30-b58a-9906097315c5" providerId="ADAL" clId="{49E1EDC4-949C-4C9A-9207-A653EB98B0DF}" dt="2024-11-19T09:14:13.499" v="4766" actId="47"/>
        <pc:sldMkLst>
          <pc:docMk/>
          <pc:sldMk cId="3625723878" sldId="2147475179"/>
        </pc:sldMkLst>
      </pc:sldChg>
      <pc:sldChg chg="add del ord">
        <pc:chgData name="Raphaella ASHRAF" userId="5247841d-d595-4c30-b58a-9906097315c5" providerId="ADAL" clId="{49E1EDC4-949C-4C9A-9207-A653EB98B0DF}" dt="2024-11-19T09:14:13.499" v="4766" actId="47"/>
        <pc:sldMkLst>
          <pc:docMk/>
          <pc:sldMk cId="3179067410" sldId="2147475180"/>
        </pc:sldMkLst>
      </pc:sldChg>
      <pc:sldChg chg="add del ord">
        <pc:chgData name="Raphaella ASHRAF" userId="5247841d-d595-4c30-b58a-9906097315c5" providerId="ADAL" clId="{49E1EDC4-949C-4C9A-9207-A653EB98B0DF}" dt="2024-11-19T09:14:13.499" v="4766" actId="47"/>
        <pc:sldMkLst>
          <pc:docMk/>
          <pc:sldMk cId="1504629359" sldId="2147475181"/>
        </pc:sldMkLst>
      </pc:sldChg>
      <pc:sldChg chg="add del ord">
        <pc:chgData name="Raphaella ASHRAF" userId="5247841d-d595-4c30-b58a-9906097315c5" providerId="ADAL" clId="{49E1EDC4-949C-4C9A-9207-A653EB98B0DF}" dt="2024-11-19T09:14:13.499" v="4766" actId="47"/>
        <pc:sldMkLst>
          <pc:docMk/>
          <pc:sldMk cId="457104723" sldId="2147475182"/>
        </pc:sldMkLst>
      </pc:sldChg>
      <pc:sldChg chg="add del ord">
        <pc:chgData name="Raphaella ASHRAF" userId="5247841d-d595-4c30-b58a-9906097315c5" providerId="ADAL" clId="{49E1EDC4-949C-4C9A-9207-A653EB98B0DF}" dt="2024-11-19T09:14:13.499" v="4766" actId="47"/>
        <pc:sldMkLst>
          <pc:docMk/>
          <pc:sldMk cId="3032503651" sldId="2147475183"/>
        </pc:sldMkLst>
      </pc:sldChg>
      <pc:sldChg chg="add del ord">
        <pc:chgData name="Raphaella ASHRAF" userId="5247841d-d595-4c30-b58a-9906097315c5" providerId="ADAL" clId="{49E1EDC4-949C-4C9A-9207-A653EB98B0DF}" dt="2024-11-19T09:14:13.499" v="4766" actId="47"/>
        <pc:sldMkLst>
          <pc:docMk/>
          <pc:sldMk cId="3045385220" sldId="2147475184"/>
        </pc:sldMkLst>
      </pc:sldChg>
      <pc:sldChg chg="add del ord">
        <pc:chgData name="Raphaella ASHRAF" userId="5247841d-d595-4c30-b58a-9906097315c5" providerId="ADAL" clId="{49E1EDC4-949C-4C9A-9207-A653EB98B0DF}" dt="2024-11-19T09:14:13.499" v="4766" actId="47"/>
        <pc:sldMkLst>
          <pc:docMk/>
          <pc:sldMk cId="1550826477" sldId="2147475185"/>
        </pc:sldMkLst>
      </pc:sldChg>
      <pc:sldChg chg="add del ord">
        <pc:chgData name="Raphaella ASHRAF" userId="5247841d-d595-4c30-b58a-9906097315c5" providerId="ADAL" clId="{49E1EDC4-949C-4C9A-9207-A653EB98B0DF}" dt="2024-11-19T09:14:13.499" v="4766" actId="47"/>
        <pc:sldMkLst>
          <pc:docMk/>
          <pc:sldMk cId="1279164033" sldId="2147475186"/>
        </pc:sldMkLst>
      </pc:sldChg>
      <pc:sldChg chg="add del ord">
        <pc:chgData name="Raphaella ASHRAF" userId="5247841d-d595-4c30-b58a-9906097315c5" providerId="ADAL" clId="{49E1EDC4-949C-4C9A-9207-A653EB98B0DF}" dt="2024-11-19T09:14:13.499" v="4766" actId="47"/>
        <pc:sldMkLst>
          <pc:docMk/>
          <pc:sldMk cId="2557040845" sldId="2147475187"/>
        </pc:sldMkLst>
      </pc:sldChg>
      <pc:sldChg chg="add del ord">
        <pc:chgData name="Raphaella ASHRAF" userId="5247841d-d595-4c30-b58a-9906097315c5" providerId="ADAL" clId="{49E1EDC4-949C-4C9A-9207-A653EB98B0DF}" dt="2024-11-19T09:14:13.499" v="4766" actId="47"/>
        <pc:sldMkLst>
          <pc:docMk/>
          <pc:sldMk cId="1702300589" sldId="2147475188"/>
        </pc:sldMkLst>
      </pc:sldChg>
      <pc:sldChg chg="add del ord">
        <pc:chgData name="Raphaella ASHRAF" userId="5247841d-d595-4c30-b58a-9906097315c5" providerId="ADAL" clId="{49E1EDC4-949C-4C9A-9207-A653EB98B0DF}" dt="2024-11-19T09:14:13.499" v="4766" actId="47"/>
        <pc:sldMkLst>
          <pc:docMk/>
          <pc:sldMk cId="1978433800" sldId="2147475189"/>
        </pc:sldMkLst>
      </pc:sldChg>
      <pc:sldChg chg="add del ord">
        <pc:chgData name="Raphaella ASHRAF" userId="5247841d-d595-4c30-b58a-9906097315c5" providerId="ADAL" clId="{49E1EDC4-949C-4C9A-9207-A653EB98B0DF}" dt="2024-11-19T09:14:13.499" v="4766" actId="47"/>
        <pc:sldMkLst>
          <pc:docMk/>
          <pc:sldMk cId="478175513" sldId="2147475190"/>
        </pc:sldMkLst>
      </pc:sldChg>
      <pc:sldChg chg="add del ord">
        <pc:chgData name="Raphaella ASHRAF" userId="5247841d-d595-4c30-b58a-9906097315c5" providerId="ADAL" clId="{49E1EDC4-949C-4C9A-9207-A653EB98B0DF}" dt="2024-11-19T09:14:13.499" v="4766" actId="47"/>
        <pc:sldMkLst>
          <pc:docMk/>
          <pc:sldMk cId="2146503481" sldId="2147475191"/>
        </pc:sldMkLst>
      </pc:sldChg>
      <pc:sldChg chg="add del ord">
        <pc:chgData name="Raphaella ASHRAF" userId="5247841d-d595-4c30-b58a-9906097315c5" providerId="ADAL" clId="{49E1EDC4-949C-4C9A-9207-A653EB98B0DF}" dt="2024-11-19T09:14:13.499" v="4766" actId="47"/>
        <pc:sldMkLst>
          <pc:docMk/>
          <pc:sldMk cId="2028863232" sldId="2147475192"/>
        </pc:sldMkLst>
      </pc:sldChg>
      <pc:sldChg chg="add del ord">
        <pc:chgData name="Raphaella ASHRAF" userId="5247841d-d595-4c30-b58a-9906097315c5" providerId="ADAL" clId="{49E1EDC4-949C-4C9A-9207-A653EB98B0DF}" dt="2024-11-19T09:14:13.499" v="4766" actId="47"/>
        <pc:sldMkLst>
          <pc:docMk/>
          <pc:sldMk cId="1107965559" sldId="2147475193"/>
        </pc:sldMkLst>
      </pc:sldChg>
      <pc:sldChg chg="add del ord">
        <pc:chgData name="Raphaella ASHRAF" userId="5247841d-d595-4c30-b58a-9906097315c5" providerId="ADAL" clId="{49E1EDC4-949C-4C9A-9207-A653EB98B0DF}" dt="2024-11-19T09:14:13.499" v="4766" actId="47"/>
        <pc:sldMkLst>
          <pc:docMk/>
          <pc:sldMk cId="2456394262" sldId="2147475194"/>
        </pc:sldMkLst>
      </pc:sldChg>
      <pc:sldChg chg="add del ord">
        <pc:chgData name="Raphaella ASHRAF" userId="5247841d-d595-4c30-b58a-9906097315c5" providerId="ADAL" clId="{49E1EDC4-949C-4C9A-9207-A653EB98B0DF}" dt="2024-11-19T09:14:13.499" v="4766" actId="47"/>
        <pc:sldMkLst>
          <pc:docMk/>
          <pc:sldMk cId="1453049676" sldId="2147475195"/>
        </pc:sldMkLst>
      </pc:sldChg>
      <pc:sldChg chg="add del ord">
        <pc:chgData name="Raphaella ASHRAF" userId="5247841d-d595-4c30-b58a-9906097315c5" providerId="ADAL" clId="{49E1EDC4-949C-4C9A-9207-A653EB98B0DF}" dt="2024-11-19T09:14:13.499" v="4766" actId="47"/>
        <pc:sldMkLst>
          <pc:docMk/>
          <pc:sldMk cId="2494858756" sldId="2147475196"/>
        </pc:sldMkLst>
      </pc:sldChg>
      <pc:sldChg chg="add del ord">
        <pc:chgData name="Raphaella ASHRAF" userId="5247841d-d595-4c30-b58a-9906097315c5" providerId="ADAL" clId="{49E1EDC4-949C-4C9A-9207-A653EB98B0DF}" dt="2024-11-19T09:14:13.499" v="4766" actId="47"/>
        <pc:sldMkLst>
          <pc:docMk/>
          <pc:sldMk cId="3420795763" sldId="2147475197"/>
        </pc:sldMkLst>
      </pc:sldChg>
      <pc:sldChg chg="add del ord">
        <pc:chgData name="Raphaella ASHRAF" userId="5247841d-d595-4c30-b58a-9906097315c5" providerId="ADAL" clId="{49E1EDC4-949C-4C9A-9207-A653EB98B0DF}" dt="2024-11-19T09:14:13.499" v="4766" actId="47"/>
        <pc:sldMkLst>
          <pc:docMk/>
          <pc:sldMk cId="2205502981" sldId="2147475198"/>
        </pc:sldMkLst>
      </pc:sldChg>
      <pc:sldChg chg="add del ord">
        <pc:chgData name="Raphaella ASHRAF" userId="5247841d-d595-4c30-b58a-9906097315c5" providerId="ADAL" clId="{49E1EDC4-949C-4C9A-9207-A653EB98B0DF}" dt="2024-11-19T09:14:13.499" v="4766" actId="47"/>
        <pc:sldMkLst>
          <pc:docMk/>
          <pc:sldMk cId="1153373882" sldId="2147475199"/>
        </pc:sldMkLst>
      </pc:sldChg>
      <pc:sldChg chg="add del ord">
        <pc:chgData name="Raphaella ASHRAF" userId="5247841d-d595-4c30-b58a-9906097315c5" providerId="ADAL" clId="{49E1EDC4-949C-4C9A-9207-A653EB98B0DF}" dt="2024-11-19T09:14:13.499" v="4766" actId="47"/>
        <pc:sldMkLst>
          <pc:docMk/>
          <pc:sldMk cId="3433885873" sldId="2147475200"/>
        </pc:sldMkLst>
      </pc:sldChg>
      <pc:sldChg chg="add del ord">
        <pc:chgData name="Raphaella ASHRAF" userId="5247841d-d595-4c30-b58a-9906097315c5" providerId="ADAL" clId="{49E1EDC4-949C-4C9A-9207-A653EB98B0DF}" dt="2024-11-19T09:14:13.499" v="4766" actId="47"/>
        <pc:sldMkLst>
          <pc:docMk/>
          <pc:sldMk cId="24921072" sldId="2147475201"/>
        </pc:sldMkLst>
      </pc:sldChg>
      <pc:sldChg chg="add del ord">
        <pc:chgData name="Raphaella ASHRAF" userId="5247841d-d595-4c30-b58a-9906097315c5" providerId="ADAL" clId="{49E1EDC4-949C-4C9A-9207-A653EB98B0DF}" dt="2024-11-19T09:14:13.499" v="4766" actId="47"/>
        <pc:sldMkLst>
          <pc:docMk/>
          <pc:sldMk cId="1724895154" sldId="2147475202"/>
        </pc:sldMkLst>
      </pc:sldChg>
      <pc:sldChg chg="add del ord">
        <pc:chgData name="Raphaella ASHRAF" userId="5247841d-d595-4c30-b58a-9906097315c5" providerId="ADAL" clId="{49E1EDC4-949C-4C9A-9207-A653EB98B0DF}" dt="2024-11-19T09:14:13.499" v="4766" actId="47"/>
        <pc:sldMkLst>
          <pc:docMk/>
          <pc:sldMk cId="2440638555" sldId="2147475203"/>
        </pc:sldMkLst>
      </pc:sldChg>
      <pc:sldChg chg="add del ord">
        <pc:chgData name="Raphaella ASHRAF" userId="5247841d-d595-4c30-b58a-9906097315c5" providerId="ADAL" clId="{49E1EDC4-949C-4C9A-9207-A653EB98B0DF}" dt="2024-11-19T09:14:13.499" v="4766" actId="47"/>
        <pc:sldMkLst>
          <pc:docMk/>
          <pc:sldMk cId="1493367556" sldId="2147475204"/>
        </pc:sldMkLst>
      </pc:sldChg>
      <pc:sldChg chg="add del ord">
        <pc:chgData name="Raphaella ASHRAF" userId="5247841d-d595-4c30-b58a-9906097315c5" providerId="ADAL" clId="{49E1EDC4-949C-4C9A-9207-A653EB98B0DF}" dt="2024-11-19T09:14:13.499" v="4766" actId="47"/>
        <pc:sldMkLst>
          <pc:docMk/>
          <pc:sldMk cId="3403049601" sldId="2147475205"/>
        </pc:sldMkLst>
      </pc:sldChg>
      <pc:sldChg chg="add del ord">
        <pc:chgData name="Raphaella ASHRAF" userId="5247841d-d595-4c30-b58a-9906097315c5" providerId="ADAL" clId="{49E1EDC4-949C-4C9A-9207-A653EB98B0DF}" dt="2024-11-19T09:14:13.499" v="4766" actId="47"/>
        <pc:sldMkLst>
          <pc:docMk/>
          <pc:sldMk cId="1547933480" sldId="2147475206"/>
        </pc:sldMkLst>
      </pc:sldChg>
      <pc:sldChg chg="add del ord">
        <pc:chgData name="Raphaella ASHRAF" userId="5247841d-d595-4c30-b58a-9906097315c5" providerId="ADAL" clId="{49E1EDC4-949C-4C9A-9207-A653EB98B0DF}" dt="2024-11-19T09:14:13.499" v="4766" actId="47"/>
        <pc:sldMkLst>
          <pc:docMk/>
          <pc:sldMk cId="639869212" sldId="2147475207"/>
        </pc:sldMkLst>
      </pc:sldChg>
      <pc:sldChg chg="add del ord">
        <pc:chgData name="Raphaella ASHRAF" userId="5247841d-d595-4c30-b58a-9906097315c5" providerId="ADAL" clId="{49E1EDC4-949C-4C9A-9207-A653EB98B0DF}" dt="2024-11-19T09:14:13.499" v="4766" actId="47"/>
        <pc:sldMkLst>
          <pc:docMk/>
          <pc:sldMk cId="1139231625" sldId="2147475208"/>
        </pc:sldMkLst>
      </pc:sldChg>
      <pc:sldChg chg="add del ord">
        <pc:chgData name="Raphaella ASHRAF" userId="5247841d-d595-4c30-b58a-9906097315c5" providerId="ADAL" clId="{49E1EDC4-949C-4C9A-9207-A653EB98B0DF}" dt="2024-11-19T09:14:13.499" v="4766" actId="47"/>
        <pc:sldMkLst>
          <pc:docMk/>
          <pc:sldMk cId="1205913927" sldId="2147475209"/>
        </pc:sldMkLst>
      </pc:sldChg>
      <pc:sldChg chg="add del ord">
        <pc:chgData name="Raphaella ASHRAF" userId="5247841d-d595-4c30-b58a-9906097315c5" providerId="ADAL" clId="{49E1EDC4-949C-4C9A-9207-A653EB98B0DF}" dt="2024-11-19T09:14:13.499" v="4766" actId="47"/>
        <pc:sldMkLst>
          <pc:docMk/>
          <pc:sldMk cId="3466383968" sldId="2147475210"/>
        </pc:sldMkLst>
      </pc:sldChg>
      <pc:sldChg chg="add del ord">
        <pc:chgData name="Raphaella ASHRAF" userId="5247841d-d595-4c30-b58a-9906097315c5" providerId="ADAL" clId="{49E1EDC4-949C-4C9A-9207-A653EB98B0DF}" dt="2024-11-19T09:14:13.499" v="4766" actId="47"/>
        <pc:sldMkLst>
          <pc:docMk/>
          <pc:sldMk cId="3207662000" sldId="2147475211"/>
        </pc:sldMkLst>
      </pc:sldChg>
      <pc:sldChg chg="add del ord">
        <pc:chgData name="Raphaella ASHRAF" userId="5247841d-d595-4c30-b58a-9906097315c5" providerId="ADAL" clId="{49E1EDC4-949C-4C9A-9207-A653EB98B0DF}" dt="2024-11-19T09:14:13.499" v="4766" actId="47"/>
        <pc:sldMkLst>
          <pc:docMk/>
          <pc:sldMk cId="1549680880" sldId="2147475212"/>
        </pc:sldMkLst>
      </pc:sldChg>
      <pc:sldChg chg="add del ord">
        <pc:chgData name="Raphaella ASHRAF" userId="5247841d-d595-4c30-b58a-9906097315c5" providerId="ADAL" clId="{49E1EDC4-949C-4C9A-9207-A653EB98B0DF}" dt="2024-11-19T09:14:13.499" v="4766" actId="47"/>
        <pc:sldMkLst>
          <pc:docMk/>
          <pc:sldMk cId="502665960" sldId="2147475213"/>
        </pc:sldMkLst>
      </pc:sldChg>
      <pc:sldChg chg="add del ord">
        <pc:chgData name="Raphaella ASHRAF" userId="5247841d-d595-4c30-b58a-9906097315c5" providerId="ADAL" clId="{49E1EDC4-949C-4C9A-9207-A653EB98B0DF}" dt="2024-11-19T09:14:13.499" v="4766" actId="47"/>
        <pc:sldMkLst>
          <pc:docMk/>
          <pc:sldMk cId="285119908" sldId="2147475214"/>
        </pc:sldMkLst>
      </pc:sldChg>
      <pc:sldChg chg="add del ord">
        <pc:chgData name="Raphaella ASHRAF" userId="5247841d-d595-4c30-b58a-9906097315c5" providerId="ADAL" clId="{49E1EDC4-949C-4C9A-9207-A653EB98B0DF}" dt="2024-11-19T09:14:13.499" v="4766" actId="47"/>
        <pc:sldMkLst>
          <pc:docMk/>
          <pc:sldMk cId="1695069562" sldId="2147475215"/>
        </pc:sldMkLst>
      </pc:sldChg>
      <pc:sldChg chg="add del ord">
        <pc:chgData name="Raphaella ASHRAF" userId="5247841d-d595-4c30-b58a-9906097315c5" providerId="ADAL" clId="{49E1EDC4-949C-4C9A-9207-A653EB98B0DF}" dt="2024-11-19T09:14:13.499" v="4766" actId="47"/>
        <pc:sldMkLst>
          <pc:docMk/>
          <pc:sldMk cId="1155044612" sldId="2147475216"/>
        </pc:sldMkLst>
      </pc:sldChg>
      <pc:sldChg chg="add del ord">
        <pc:chgData name="Raphaella ASHRAF" userId="5247841d-d595-4c30-b58a-9906097315c5" providerId="ADAL" clId="{49E1EDC4-949C-4C9A-9207-A653EB98B0DF}" dt="2024-11-19T09:14:13.499" v="4766" actId="47"/>
        <pc:sldMkLst>
          <pc:docMk/>
          <pc:sldMk cId="2246144734" sldId="2147475217"/>
        </pc:sldMkLst>
      </pc:sldChg>
      <pc:sldChg chg="add del ord">
        <pc:chgData name="Raphaella ASHRAF" userId="5247841d-d595-4c30-b58a-9906097315c5" providerId="ADAL" clId="{49E1EDC4-949C-4C9A-9207-A653EB98B0DF}" dt="2024-11-19T09:14:13.499" v="4766" actId="47"/>
        <pc:sldMkLst>
          <pc:docMk/>
          <pc:sldMk cId="2473722366" sldId="2147475218"/>
        </pc:sldMkLst>
      </pc:sldChg>
      <pc:sldChg chg="add del ord">
        <pc:chgData name="Raphaella ASHRAF" userId="5247841d-d595-4c30-b58a-9906097315c5" providerId="ADAL" clId="{49E1EDC4-949C-4C9A-9207-A653EB98B0DF}" dt="2024-11-19T09:14:13.499" v="4766" actId="47"/>
        <pc:sldMkLst>
          <pc:docMk/>
          <pc:sldMk cId="4074688386" sldId="2147475219"/>
        </pc:sldMkLst>
      </pc:sldChg>
      <pc:sldChg chg="add del ord">
        <pc:chgData name="Raphaella ASHRAF" userId="5247841d-d595-4c30-b58a-9906097315c5" providerId="ADAL" clId="{49E1EDC4-949C-4C9A-9207-A653EB98B0DF}" dt="2024-11-19T09:14:13.499" v="4766" actId="47"/>
        <pc:sldMkLst>
          <pc:docMk/>
          <pc:sldMk cId="3413568878" sldId="2147475220"/>
        </pc:sldMkLst>
      </pc:sldChg>
      <pc:sldChg chg="add del ord">
        <pc:chgData name="Raphaella ASHRAF" userId="5247841d-d595-4c30-b58a-9906097315c5" providerId="ADAL" clId="{49E1EDC4-949C-4C9A-9207-A653EB98B0DF}" dt="2024-11-19T09:14:13.499" v="4766" actId="47"/>
        <pc:sldMkLst>
          <pc:docMk/>
          <pc:sldMk cId="1238642377" sldId="2147475221"/>
        </pc:sldMkLst>
      </pc:sldChg>
      <pc:sldChg chg="add del ord">
        <pc:chgData name="Raphaella ASHRAF" userId="5247841d-d595-4c30-b58a-9906097315c5" providerId="ADAL" clId="{49E1EDC4-949C-4C9A-9207-A653EB98B0DF}" dt="2024-11-19T09:14:13.499" v="4766" actId="47"/>
        <pc:sldMkLst>
          <pc:docMk/>
          <pc:sldMk cId="384057854" sldId="2147475222"/>
        </pc:sldMkLst>
      </pc:sldChg>
      <pc:sldChg chg="add del ord">
        <pc:chgData name="Raphaella ASHRAF" userId="5247841d-d595-4c30-b58a-9906097315c5" providerId="ADAL" clId="{49E1EDC4-949C-4C9A-9207-A653EB98B0DF}" dt="2024-11-19T09:14:13.499" v="4766" actId="47"/>
        <pc:sldMkLst>
          <pc:docMk/>
          <pc:sldMk cId="1755976510" sldId="2147475223"/>
        </pc:sldMkLst>
      </pc:sldChg>
      <pc:sldChg chg="add del ord">
        <pc:chgData name="Raphaella ASHRAF" userId="5247841d-d595-4c30-b58a-9906097315c5" providerId="ADAL" clId="{49E1EDC4-949C-4C9A-9207-A653EB98B0DF}" dt="2024-11-19T09:14:13.499" v="4766" actId="47"/>
        <pc:sldMkLst>
          <pc:docMk/>
          <pc:sldMk cId="3219459662" sldId="2147475224"/>
        </pc:sldMkLst>
      </pc:sldChg>
      <pc:sldChg chg="add del ord">
        <pc:chgData name="Raphaella ASHRAF" userId="5247841d-d595-4c30-b58a-9906097315c5" providerId="ADAL" clId="{49E1EDC4-949C-4C9A-9207-A653EB98B0DF}" dt="2024-11-19T09:14:13.499" v="4766" actId="47"/>
        <pc:sldMkLst>
          <pc:docMk/>
          <pc:sldMk cId="3532090177" sldId="2147475225"/>
        </pc:sldMkLst>
      </pc:sldChg>
      <pc:sldChg chg="add del ord">
        <pc:chgData name="Raphaella ASHRAF" userId="5247841d-d595-4c30-b58a-9906097315c5" providerId="ADAL" clId="{49E1EDC4-949C-4C9A-9207-A653EB98B0DF}" dt="2024-11-19T09:14:13.499" v="4766" actId="47"/>
        <pc:sldMkLst>
          <pc:docMk/>
          <pc:sldMk cId="3109668970" sldId="2147475226"/>
        </pc:sldMkLst>
      </pc:sldChg>
      <pc:sldChg chg="add del ord">
        <pc:chgData name="Raphaella ASHRAF" userId="5247841d-d595-4c30-b58a-9906097315c5" providerId="ADAL" clId="{49E1EDC4-949C-4C9A-9207-A653EB98B0DF}" dt="2024-11-19T09:14:13.499" v="4766" actId="47"/>
        <pc:sldMkLst>
          <pc:docMk/>
          <pc:sldMk cId="3844919365" sldId="2147475227"/>
        </pc:sldMkLst>
      </pc:sldChg>
      <pc:sldChg chg="add del ord">
        <pc:chgData name="Raphaella ASHRAF" userId="5247841d-d595-4c30-b58a-9906097315c5" providerId="ADAL" clId="{49E1EDC4-949C-4C9A-9207-A653EB98B0DF}" dt="2024-11-19T09:14:13.499" v="4766" actId="47"/>
        <pc:sldMkLst>
          <pc:docMk/>
          <pc:sldMk cId="2740700101" sldId="2147475228"/>
        </pc:sldMkLst>
      </pc:sldChg>
      <pc:sldChg chg="add del ord">
        <pc:chgData name="Raphaella ASHRAF" userId="5247841d-d595-4c30-b58a-9906097315c5" providerId="ADAL" clId="{49E1EDC4-949C-4C9A-9207-A653EB98B0DF}" dt="2024-11-19T09:14:13.499" v="4766" actId="47"/>
        <pc:sldMkLst>
          <pc:docMk/>
          <pc:sldMk cId="3951029766" sldId="2147475229"/>
        </pc:sldMkLst>
      </pc:sldChg>
      <pc:sldChg chg="add del ord">
        <pc:chgData name="Raphaella ASHRAF" userId="5247841d-d595-4c30-b58a-9906097315c5" providerId="ADAL" clId="{49E1EDC4-949C-4C9A-9207-A653EB98B0DF}" dt="2024-11-19T09:14:13.499" v="4766" actId="47"/>
        <pc:sldMkLst>
          <pc:docMk/>
          <pc:sldMk cId="584275301" sldId="2147475230"/>
        </pc:sldMkLst>
      </pc:sldChg>
      <pc:sldChg chg="add del ord">
        <pc:chgData name="Raphaella ASHRAF" userId="5247841d-d595-4c30-b58a-9906097315c5" providerId="ADAL" clId="{49E1EDC4-949C-4C9A-9207-A653EB98B0DF}" dt="2024-11-19T09:14:13.499" v="4766" actId="47"/>
        <pc:sldMkLst>
          <pc:docMk/>
          <pc:sldMk cId="1327526517" sldId="2147475231"/>
        </pc:sldMkLst>
      </pc:sldChg>
      <pc:sldChg chg="add del ord">
        <pc:chgData name="Raphaella ASHRAF" userId="5247841d-d595-4c30-b58a-9906097315c5" providerId="ADAL" clId="{49E1EDC4-949C-4C9A-9207-A653EB98B0DF}" dt="2024-11-19T09:14:13.499" v="4766" actId="47"/>
        <pc:sldMkLst>
          <pc:docMk/>
          <pc:sldMk cId="4223441837" sldId="2147475232"/>
        </pc:sldMkLst>
      </pc:sldChg>
      <pc:sldChg chg="add del ord">
        <pc:chgData name="Raphaella ASHRAF" userId="5247841d-d595-4c30-b58a-9906097315c5" providerId="ADAL" clId="{49E1EDC4-949C-4C9A-9207-A653EB98B0DF}" dt="2024-11-19T09:14:13.499" v="4766" actId="47"/>
        <pc:sldMkLst>
          <pc:docMk/>
          <pc:sldMk cId="646085101" sldId="2147475233"/>
        </pc:sldMkLst>
      </pc:sldChg>
      <pc:sldChg chg="add del ord">
        <pc:chgData name="Raphaella ASHRAF" userId="5247841d-d595-4c30-b58a-9906097315c5" providerId="ADAL" clId="{49E1EDC4-949C-4C9A-9207-A653EB98B0DF}" dt="2024-11-19T09:14:13.499" v="4766" actId="47"/>
        <pc:sldMkLst>
          <pc:docMk/>
          <pc:sldMk cId="69632603" sldId="2147475234"/>
        </pc:sldMkLst>
      </pc:sldChg>
      <pc:sldChg chg="add del ord">
        <pc:chgData name="Raphaella ASHRAF" userId="5247841d-d595-4c30-b58a-9906097315c5" providerId="ADAL" clId="{49E1EDC4-949C-4C9A-9207-A653EB98B0DF}" dt="2024-11-19T09:14:13.499" v="4766" actId="47"/>
        <pc:sldMkLst>
          <pc:docMk/>
          <pc:sldMk cId="2179943685" sldId="2147475235"/>
        </pc:sldMkLst>
      </pc:sldChg>
      <pc:sldChg chg="add del ord">
        <pc:chgData name="Raphaella ASHRAF" userId="5247841d-d595-4c30-b58a-9906097315c5" providerId="ADAL" clId="{49E1EDC4-949C-4C9A-9207-A653EB98B0DF}" dt="2024-11-19T09:14:13.499" v="4766" actId="47"/>
        <pc:sldMkLst>
          <pc:docMk/>
          <pc:sldMk cId="3152457016" sldId="2147475236"/>
        </pc:sldMkLst>
      </pc:sldChg>
      <pc:sldChg chg="add del ord">
        <pc:chgData name="Raphaella ASHRAF" userId="5247841d-d595-4c30-b58a-9906097315c5" providerId="ADAL" clId="{49E1EDC4-949C-4C9A-9207-A653EB98B0DF}" dt="2024-11-19T09:14:13.499" v="4766" actId="47"/>
        <pc:sldMkLst>
          <pc:docMk/>
          <pc:sldMk cId="1015963334" sldId="2147475237"/>
        </pc:sldMkLst>
      </pc:sldChg>
      <pc:sldChg chg="add del ord">
        <pc:chgData name="Raphaella ASHRAF" userId="5247841d-d595-4c30-b58a-9906097315c5" providerId="ADAL" clId="{49E1EDC4-949C-4C9A-9207-A653EB98B0DF}" dt="2024-11-19T09:14:13.499" v="4766" actId="47"/>
        <pc:sldMkLst>
          <pc:docMk/>
          <pc:sldMk cId="1989515418" sldId="2147475238"/>
        </pc:sldMkLst>
      </pc:sldChg>
      <pc:sldChg chg="add del ord">
        <pc:chgData name="Raphaella ASHRAF" userId="5247841d-d595-4c30-b58a-9906097315c5" providerId="ADAL" clId="{49E1EDC4-949C-4C9A-9207-A653EB98B0DF}" dt="2024-11-19T09:14:13.499" v="4766" actId="47"/>
        <pc:sldMkLst>
          <pc:docMk/>
          <pc:sldMk cId="1798274965" sldId="2147475239"/>
        </pc:sldMkLst>
      </pc:sldChg>
      <pc:sldChg chg="add del ord">
        <pc:chgData name="Raphaella ASHRAF" userId="5247841d-d595-4c30-b58a-9906097315c5" providerId="ADAL" clId="{49E1EDC4-949C-4C9A-9207-A653EB98B0DF}" dt="2024-11-19T09:14:13.499" v="4766" actId="47"/>
        <pc:sldMkLst>
          <pc:docMk/>
          <pc:sldMk cId="1066374481" sldId="2147475240"/>
        </pc:sldMkLst>
      </pc:sldChg>
      <pc:sldChg chg="add del ord">
        <pc:chgData name="Raphaella ASHRAF" userId="5247841d-d595-4c30-b58a-9906097315c5" providerId="ADAL" clId="{49E1EDC4-949C-4C9A-9207-A653EB98B0DF}" dt="2024-11-19T09:14:13.499" v="4766" actId="47"/>
        <pc:sldMkLst>
          <pc:docMk/>
          <pc:sldMk cId="69952090" sldId="2147475241"/>
        </pc:sldMkLst>
      </pc:sldChg>
      <pc:sldChg chg="add del ord">
        <pc:chgData name="Raphaella ASHRAF" userId="5247841d-d595-4c30-b58a-9906097315c5" providerId="ADAL" clId="{49E1EDC4-949C-4C9A-9207-A653EB98B0DF}" dt="2024-11-19T09:14:13.499" v="4766" actId="47"/>
        <pc:sldMkLst>
          <pc:docMk/>
          <pc:sldMk cId="3590587934" sldId="2147475242"/>
        </pc:sldMkLst>
      </pc:sldChg>
      <pc:sldChg chg="add del ord">
        <pc:chgData name="Raphaella ASHRAF" userId="5247841d-d595-4c30-b58a-9906097315c5" providerId="ADAL" clId="{49E1EDC4-949C-4C9A-9207-A653EB98B0DF}" dt="2024-11-19T09:14:13.499" v="4766" actId="47"/>
        <pc:sldMkLst>
          <pc:docMk/>
          <pc:sldMk cId="3979046399" sldId="2147475243"/>
        </pc:sldMkLst>
      </pc:sldChg>
      <pc:sldChg chg="add del ord">
        <pc:chgData name="Raphaella ASHRAF" userId="5247841d-d595-4c30-b58a-9906097315c5" providerId="ADAL" clId="{49E1EDC4-949C-4C9A-9207-A653EB98B0DF}" dt="2024-11-19T09:14:13.499" v="4766" actId="47"/>
        <pc:sldMkLst>
          <pc:docMk/>
          <pc:sldMk cId="1703855626" sldId="2147475244"/>
        </pc:sldMkLst>
      </pc:sldChg>
      <pc:sldChg chg="add del ord">
        <pc:chgData name="Raphaella ASHRAF" userId="5247841d-d595-4c30-b58a-9906097315c5" providerId="ADAL" clId="{49E1EDC4-949C-4C9A-9207-A653EB98B0DF}" dt="2024-11-19T09:14:13.499" v="4766" actId="47"/>
        <pc:sldMkLst>
          <pc:docMk/>
          <pc:sldMk cId="1688949336" sldId="2147475245"/>
        </pc:sldMkLst>
      </pc:sldChg>
      <pc:sldChg chg="add del ord">
        <pc:chgData name="Raphaella ASHRAF" userId="5247841d-d595-4c30-b58a-9906097315c5" providerId="ADAL" clId="{49E1EDC4-949C-4C9A-9207-A653EB98B0DF}" dt="2024-11-19T09:14:13.499" v="4766" actId="47"/>
        <pc:sldMkLst>
          <pc:docMk/>
          <pc:sldMk cId="3457731234" sldId="2147475246"/>
        </pc:sldMkLst>
      </pc:sldChg>
      <pc:sldChg chg="add del ord">
        <pc:chgData name="Raphaella ASHRAF" userId="5247841d-d595-4c30-b58a-9906097315c5" providerId="ADAL" clId="{49E1EDC4-949C-4C9A-9207-A653EB98B0DF}" dt="2024-11-19T09:14:13.499" v="4766" actId="47"/>
        <pc:sldMkLst>
          <pc:docMk/>
          <pc:sldMk cId="3364593806" sldId="2147475247"/>
        </pc:sldMkLst>
      </pc:sldChg>
      <pc:sldChg chg="add del ord">
        <pc:chgData name="Raphaella ASHRAF" userId="5247841d-d595-4c30-b58a-9906097315c5" providerId="ADAL" clId="{49E1EDC4-949C-4C9A-9207-A653EB98B0DF}" dt="2024-11-19T09:14:13.499" v="4766" actId="47"/>
        <pc:sldMkLst>
          <pc:docMk/>
          <pc:sldMk cId="800018424" sldId="2147475248"/>
        </pc:sldMkLst>
      </pc:sldChg>
      <pc:sldChg chg="add del ord">
        <pc:chgData name="Raphaella ASHRAF" userId="5247841d-d595-4c30-b58a-9906097315c5" providerId="ADAL" clId="{49E1EDC4-949C-4C9A-9207-A653EB98B0DF}" dt="2024-11-19T09:14:13.499" v="4766" actId="47"/>
        <pc:sldMkLst>
          <pc:docMk/>
          <pc:sldMk cId="1400045038" sldId="2147475249"/>
        </pc:sldMkLst>
      </pc:sldChg>
      <pc:sldChg chg="add del ord">
        <pc:chgData name="Raphaella ASHRAF" userId="5247841d-d595-4c30-b58a-9906097315c5" providerId="ADAL" clId="{49E1EDC4-949C-4C9A-9207-A653EB98B0DF}" dt="2024-11-19T09:14:13.499" v="4766" actId="47"/>
        <pc:sldMkLst>
          <pc:docMk/>
          <pc:sldMk cId="388376707" sldId="2147475250"/>
        </pc:sldMkLst>
      </pc:sldChg>
      <pc:sldChg chg="add del ord">
        <pc:chgData name="Raphaella ASHRAF" userId="5247841d-d595-4c30-b58a-9906097315c5" providerId="ADAL" clId="{49E1EDC4-949C-4C9A-9207-A653EB98B0DF}" dt="2024-11-19T09:14:13.499" v="4766" actId="47"/>
        <pc:sldMkLst>
          <pc:docMk/>
          <pc:sldMk cId="675436526" sldId="2147475251"/>
        </pc:sldMkLst>
      </pc:sldChg>
      <pc:sldChg chg="add del ord">
        <pc:chgData name="Raphaella ASHRAF" userId="5247841d-d595-4c30-b58a-9906097315c5" providerId="ADAL" clId="{49E1EDC4-949C-4C9A-9207-A653EB98B0DF}" dt="2024-11-19T09:14:13.499" v="4766" actId="47"/>
        <pc:sldMkLst>
          <pc:docMk/>
          <pc:sldMk cId="1312578196" sldId="2147475252"/>
        </pc:sldMkLst>
      </pc:sldChg>
      <pc:sldChg chg="add del ord">
        <pc:chgData name="Raphaella ASHRAF" userId="5247841d-d595-4c30-b58a-9906097315c5" providerId="ADAL" clId="{49E1EDC4-949C-4C9A-9207-A653EB98B0DF}" dt="2024-11-19T09:14:13.499" v="4766" actId="47"/>
        <pc:sldMkLst>
          <pc:docMk/>
          <pc:sldMk cId="1223561610" sldId="2147475253"/>
        </pc:sldMkLst>
      </pc:sldChg>
      <pc:sldChg chg="add del ord">
        <pc:chgData name="Raphaella ASHRAF" userId="5247841d-d595-4c30-b58a-9906097315c5" providerId="ADAL" clId="{49E1EDC4-949C-4C9A-9207-A653EB98B0DF}" dt="2024-11-19T09:14:13.499" v="4766" actId="47"/>
        <pc:sldMkLst>
          <pc:docMk/>
          <pc:sldMk cId="369044079" sldId="2147475254"/>
        </pc:sldMkLst>
      </pc:sldChg>
      <pc:sldChg chg="add del ord">
        <pc:chgData name="Raphaella ASHRAF" userId="5247841d-d595-4c30-b58a-9906097315c5" providerId="ADAL" clId="{49E1EDC4-949C-4C9A-9207-A653EB98B0DF}" dt="2024-11-19T09:14:13.499" v="4766" actId="47"/>
        <pc:sldMkLst>
          <pc:docMk/>
          <pc:sldMk cId="1274726795" sldId="2147475255"/>
        </pc:sldMkLst>
      </pc:sldChg>
      <pc:sldChg chg="add del ord">
        <pc:chgData name="Raphaella ASHRAF" userId="5247841d-d595-4c30-b58a-9906097315c5" providerId="ADAL" clId="{49E1EDC4-949C-4C9A-9207-A653EB98B0DF}" dt="2024-11-19T09:14:13.499" v="4766" actId="47"/>
        <pc:sldMkLst>
          <pc:docMk/>
          <pc:sldMk cId="1870180272" sldId="2147475256"/>
        </pc:sldMkLst>
      </pc:sldChg>
      <pc:sldChg chg="add del ord">
        <pc:chgData name="Raphaella ASHRAF" userId="5247841d-d595-4c30-b58a-9906097315c5" providerId="ADAL" clId="{49E1EDC4-949C-4C9A-9207-A653EB98B0DF}" dt="2024-11-19T09:14:13.499" v="4766" actId="47"/>
        <pc:sldMkLst>
          <pc:docMk/>
          <pc:sldMk cId="439391191" sldId="2147475257"/>
        </pc:sldMkLst>
      </pc:sldChg>
      <pc:sldChg chg="add del ord">
        <pc:chgData name="Raphaella ASHRAF" userId="5247841d-d595-4c30-b58a-9906097315c5" providerId="ADAL" clId="{49E1EDC4-949C-4C9A-9207-A653EB98B0DF}" dt="2024-11-19T09:14:13.499" v="4766" actId="47"/>
        <pc:sldMkLst>
          <pc:docMk/>
          <pc:sldMk cId="1776191109" sldId="2147475258"/>
        </pc:sldMkLst>
      </pc:sldChg>
      <pc:sldChg chg="add del ord">
        <pc:chgData name="Raphaella ASHRAF" userId="5247841d-d595-4c30-b58a-9906097315c5" providerId="ADAL" clId="{49E1EDC4-949C-4C9A-9207-A653EB98B0DF}" dt="2024-11-19T09:14:13.499" v="4766" actId="47"/>
        <pc:sldMkLst>
          <pc:docMk/>
          <pc:sldMk cId="564613147" sldId="2147475259"/>
        </pc:sldMkLst>
      </pc:sldChg>
      <pc:sldChg chg="add del ord">
        <pc:chgData name="Raphaella ASHRAF" userId="5247841d-d595-4c30-b58a-9906097315c5" providerId="ADAL" clId="{49E1EDC4-949C-4C9A-9207-A653EB98B0DF}" dt="2024-11-19T09:14:13.499" v="4766" actId="47"/>
        <pc:sldMkLst>
          <pc:docMk/>
          <pc:sldMk cId="3476159350" sldId="2147475260"/>
        </pc:sldMkLst>
      </pc:sldChg>
      <pc:sldChg chg="add del ord">
        <pc:chgData name="Raphaella ASHRAF" userId="5247841d-d595-4c30-b58a-9906097315c5" providerId="ADAL" clId="{49E1EDC4-949C-4C9A-9207-A653EB98B0DF}" dt="2024-11-19T09:14:13.499" v="4766" actId="47"/>
        <pc:sldMkLst>
          <pc:docMk/>
          <pc:sldMk cId="3100090489" sldId="2147475261"/>
        </pc:sldMkLst>
      </pc:sldChg>
      <pc:sldChg chg="add del ord">
        <pc:chgData name="Raphaella ASHRAF" userId="5247841d-d595-4c30-b58a-9906097315c5" providerId="ADAL" clId="{49E1EDC4-949C-4C9A-9207-A653EB98B0DF}" dt="2024-11-19T09:14:13.499" v="4766" actId="47"/>
        <pc:sldMkLst>
          <pc:docMk/>
          <pc:sldMk cId="1816245114" sldId="2147475262"/>
        </pc:sldMkLst>
      </pc:sldChg>
      <pc:sldChg chg="add del ord">
        <pc:chgData name="Raphaella ASHRAF" userId="5247841d-d595-4c30-b58a-9906097315c5" providerId="ADAL" clId="{49E1EDC4-949C-4C9A-9207-A653EB98B0DF}" dt="2024-11-19T09:14:13.499" v="4766" actId="47"/>
        <pc:sldMkLst>
          <pc:docMk/>
          <pc:sldMk cId="3775690300" sldId="2147475263"/>
        </pc:sldMkLst>
      </pc:sldChg>
      <pc:sldChg chg="add del ord">
        <pc:chgData name="Raphaella ASHRAF" userId="5247841d-d595-4c30-b58a-9906097315c5" providerId="ADAL" clId="{49E1EDC4-949C-4C9A-9207-A653EB98B0DF}" dt="2024-11-19T09:14:13.499" v="4766" actId="47"/>
        <pc:sldMkLst>
          <pc:docMk/>
          <pc:sldMk cId="3581112257" sldId="2147475264"/>
        </pc:sldMkLst>
      </pc:sldChg>
      <pc:sldChg chg="add del ord">
        <pc:chgData name="Raphaella ASHRAF" userId="5247841d-d595-4c30-b58a-9906097315c5" providerId="ADAL" clId="{49E1EDC4-949C-4C9A-9207-A653EB98B0DF}" dt="2024-11-19T09:14:13.499" v="4766" actId="47"/>
        <pc:sldMkLst>
          <pc:docMk/>
          <pc:sldMk cId="37982094" sldId="2147475265"/>
        </pc:sldMkLst>
      </pc:sldChg>
      <pc:sldChg chg="add del ord">
        <pc:chgData name="Raphaella ASHRAF" userId="5247841d-d595-4c30-b58a-9906097315c5" providerId="ADAL" clId="{49E1EDC4-949C-4C9A-9207-A653EB98B0DF}" dt="2024-11-19T09:14:13.499" v="4766" actId="47"/>
        <pc:sldMkLst>
          <pc:docMk/>
          <pc:sldMk cId="382941883" sldId="2147475266"/>
        </pc:sldMkLst>
      </pc:sldChg>
      <pc:sldChg chg="add del ord">
        <pc:chgData name="Raphaella ASHRAF" userId="5247841d-d595-4c30-b58a-9906097315c5" providerId="ADAL" clId="{49E1EDC4-949C-4C9A-9207-A653EB98B0DF}" dt="2024-11-19T09:14:13.499" v="4766" actId="47"/>
        <pc:sldMkLst>
          <pc:docMk/>
          <pc:sldMk cId="2567173979" sldId="2147475267"/>
        </pc:sldMkLst>
      </pc:sldChg>
      <pc:sldChg chg="add del ord">
        <pc:chgData name="Raphaella ASHRAF" userId="5247841d-d595-4c30-b58a-9906097315c5" providerId="ADAL" clId="{49E1EDC4-949C-4C9A-9207-A653EB98B0DF}" dt="2024-11-19T09:14:13.499" v="4766" actId="47"/>
        <pc:sldMkLst>
          <pc:docMk/>
          <pc:sldMk cId="2794706336" sldId="2147475268"/>
        </pc:sldMkLst>
      </pc:sldChg>
      <pc:sldChg chg="add del ord">
        <pc:chgData name="Raphaella ASHRAF" userId="5247841d-d595-4c30-b58a-9906097315c5" providerId="ADAL" clId="{49E1EDC4-949C-4C9A-9207-A653EB98B0DF}" dt="2024-11-19T09:14:13.499" v="4766" actId="47"/>
        <pc:sldMkLst>
          <pc:docMk/>
          <pc:sldMk cId="2991230903" sldId="2147475269"/>
        </pc:sldMkLst>
      </pc:sldChg>
      <pc:sldChg chg="add del ord">
        <pc:chgData name="Raphaella ASHRAF" userId="5247841d-d595-4c30-b58a-9906097315c5" providerId="ADAL" clId="{49E1EDC4-949C-4C9A-9207-A653EB98B0DF}" dt="2024-11-19T09:14:13.499" v="4766" actId="47"/>
        <pc:sldMkLst>
          <pc:docMk/>
          <pc:sldMk cId="3193509590" sldId="2147475270"/>
        </pc:sldMkLst>
      </pc:sldChg>
      <pc:sldChg chg="add del ord">
        <pc:chgData name="Raphaella ASHRAF" userId="5247841d-d595-4c30-b58a-9906097315c5" providerId="ADAL" clId="{49E1EDC4-949C-4C9A-9207-A653EB98B0DF}" dt="2024-11-19T09:14:13.499" v="4766" actId="47"/>
        <pc:sldMkLst>
          <pc:docMk/>
          <pc:sldMk cId="1144757050" sldId="2147475271"/>
        </pc:sldMkLst>
      </pc:sldChg>
      <pc:sldChg chg="add del ord">
        <pc:chgData name="Raphaella ASHRAF" userId="5247841d-d595-4c30-b58a-9906097315c5" providerId="ADAL" clId="{49E1EDC4-949C-4C9A-9207-A653EB98B0DF}" dt="2024-11-19T09:14:13.499" v="4766" actId="47"/>
        <pc:sldMkLst>
          <pc:docMk/>
          <pc:sldMk cId="2257523564" sldId="2147475272"/>
        </pc:sldMkLst>
      </pc:sldChg>
      <pc:sldChg chg="add del ord">
        <pc:chgData name="Raphaella ASHRAF" userId="5247841d-d595-4c30-b58a-9906097315c5" providerId="ADAL" clId="{49E1EDC4-949C-4C9A-9207-A653EB98B0DF}" dt="2024-11-19T09:14:13.499" v="4766" actId="47"/>
        <pc:sldMkLst>
          <pc:docMk/>
          <pc:sldMk cId="817353124" sldId="2147475273"/>
        </pc:sldMkLst>
      </pc:sldChg>
      <pc:sldChg chg="add del ord">
        <pc:chgData name="Raphaella ASHRAF" userId="5247841d-d595-4c30-b58a-9906097315c5" providerId="ADAL" clId="{49E1EDC4-949C-4C9A-9207-A653EB98B0DF}" dt="2024-11-19T09:14:13.499" v="4766" actId="47"/>
        <pc:sldMkLst>
          <pc:docMk/>
          <pc:sldMk cId="3050079778" sldId="2147475274"/>
        </pc:sldMkLst>
      </pc:sldChg>
      <pc:sldChg chg="add del ord">
        <pc:chgData name="Raphaella ASHRAF" userId="5247841d-d595-4c30-b58a-9906097315c5" providerId="ADAL" clId="{49E1EDC4-949C-4C9A-9207-A653EB98B0DF}" dt="2024-11-19T09:14:13.499" v="4766" actId="47"/>
        <pc:sldMkLst>
          <pc:docMk/>
          <pc:sldMk cId="2428112314" sldId="2147475275"/>
        </pc:sldMkLst>
      </pc:sldChg>
      <pc:sldChg chg="add del ord">
        <pc:chgData name="Raphaella ASHRAF" userId="5247841d-d595-4c30-b58a-9906097315c5" providerId="ADAL" clId="{49E1EDC4-949C-4C9A-9207-A653EB98B0DF}" dt="2024-11-19T09:14:13.499" v="4766" actId="47"/>
        <pc:sldMkLst>
          <pc:docMk/>
          <pc:sldMk cId="2190089266" sldId="2147475276"/>
        </pc:sldMkLst>
      </pc:sldChg>
      <pc:sldChg chg="add del ord">
        <pc:chgData name="Raphaella ASHRAF" userId="5247841d-d595-4c30-b58a-9906097315c5" providerId="ADAL" clId="{49E1EDC4-949C-4C9A-9207-A653EB98B0DF}" dt="2024-11-19T09:14:13.499" v="4766" actId="47"/>
        <pc:sldMkLst>
          <pc:docMk/>
          <pc:sldMk cId="714967918" sldId="2147475277"/>
        </pc:sldMkLst>
      </pc:sldChg>
      <pc:sldChg chg="add del ord">
        <pc:chgData name="Raphaella ASHRAF" userId="5247841d-d595-4c30-b58a-9906097315c5" providerId="ADAL" clId="{49E1EDC4-949C-4C9A-9207-A653EB98B0DF}" dt="2024-11-19T09:14:13.499" v="4766" actId="47"/>
        <pc:sldMkLst>
          <pc:docMk/>
          <pc:sldMk cId="1135043163" sldId="2147475278"/>
        </pc:sldMkLst>
      </pc:sldChg>
      <pc:sldChg chg="add del ord">
        <pc:chgData name="Raphaella ASHRAF" userId="5247841d-d595-4c30-b58a-9906097315c5" providerId="ADAL" clId="{49E1EDC4-949C-4C9A-9207-A653EB98B0DF}" dt="2024-11-19T09:14:13.499" v="4766" actId="47"/>
        <pc:sldMkLst>
          <pc:docMk/>
          <pc:sldMk cId="2339955884" sldId="2147475279"/>
        </pc:sldMkLst>
      </pc:sldChg>
      <pc:sldChg chg="add del ord">
        <pc:chgData name="Raphaella ASHRAF" userId="5247841d-d595-4c30-b58a-9906097315c5" providerId="ADAL" clId="{49E1EDC4-949C-4C9A-9207-A653EB98B0DF}" dt="2024-11-19T09:14:13.499" v="4766" actId="47"/>
        <pc:sldMkLst>
          <pc:docMk/>
          <pc:sldMk cId="61451400" sldId="2147475280"/>
        </pc:sldMkLst>
      </pc:sldChg>
      <pc:sldChg chg="add del ord">
        <pc:chgData name="Raphaella ASHRAF" userId="5247841d-d595-4c30-b58a-9906097315c5" providerId="ADAL" clId="{49E1EDC4-949C-4C9A-9207-A653EB98B0DF}" dt="2024-11-19T09:14:13.499" v="4766" actId="47"/>
        <pc:sldMkLst>
          <pc:docMk/>
          <pc:sldMk cId="3471663746" sldId="2147475281"/>
        </pc:sldMkLst>
      </pc:sldChg>
      <pc:sldChg chg="add del ord">
        <pc:chgData name="Raphaella ASHRAF" userId="5247841d-d595-4c30-b58a-9906097315c5" providerId="ADAL" clId="{49E1EDC4-949C-4C9A-9207-A653EB98B0DF}" dt="2024-11-19T09:14:13.499" v="4766" actId="47"/>
        <pc:sldMkLst>
          <pc:docMk/>
          <pc:sldMk cId="3069579864" sldId="2147475282"/>
        </pc:sldMkLst>
      </pc:sldChg>
      <pc:sldChg chg="add del ord">
        <pc:chgData name="Raphaella ASHRAF" userId="5247841d-d595-4c30-b58a-9906097315c5" providerId="ADAL" clId="{49E1EDC4-949C-4C9A-9207-A653EB98B0DF}" dt="2024-11-19T09:14:13.499" v="4766" actId="47"/>
        <pc:sldMkLst>
          <pc:docMk/>
          <pc:sldMk cId="2114600331" sldId="2147475283"/>
        </pc:sldMkLst>
      </pc:sldChg>
      <pc:sldChg chg="add del ord">
        <pc:chgData name="Raphaella ASHRAF" userId="5247841d-d595-4c30-b58a-9906097315c5" providerId="ADAL" clId="{49E1EDC4-949C-4C9A-9207-A653EB98B0DF}" dt="2024-11-19T09:14:13.499" v="4766" actId="47"/>
        <pc:sldMkLst>
          <pc:docMk/>
          <pc:sldMk cId="3437598296" sldId="2147475284"/>
        </pc:sldMkLst>
      </pc:sldChg>
      <pc:sldChg chg="add del ord">
        <pc:chgData name="Raphaella ASHRAF" userId="5247841d-d595-4c30-b58a-9906097315c5" providerId="ADAL" clId="{49E1EDC4-949C-4C9A-9207-A653EB98B0DF}" dt="2024-11-19T09:14:13.499" v="4766" actId="47"/>
        <pc:sldMkLst>
          <pc:docMk/>
          <pc:sldMk cId="3488417216" sldId="2147475285"/>
        </pc:sldMkLst>
      </pc:sldChg>
      <pc:sldChg chg="add del ord">
        <pc:chgData name="Raphaella ASHRAF" userId="5247841d-d595-4c30-b58a-9906097315c5" providerId="ADAL" clId="{49E1EDC4-949C-4C9A-9207-A653EB98B0DF}" dt="2024-11-19T09:14:13.499" v="4766" actId="47"/>
        <pc:sldMkLst>
          <pc:docMk/>
          <pc:sldMk cId="1608063369" sldId="2147475286"/>
        </pc:sldMkLst>
      </pc:sldChg>
      <pc:sldChg chg="add del ord">
        <pc:chgData name="Raphaella ASHRAF" userId="5247841d-d595-4c30-b58a-9906097315c5" providerId="ADAL" clId="{49E1EDC4-949C-4C9A-9207-A653EB98B0DF}" dt="2024-11-19T09:14:13.499" v="4766" actId="47"/>
        <pc:sldMkLst>
          <pc:docMk/>
          <pc:sldMk cId="200446631" sldId="2147475287"/>
        </pc:sldMkLst>
      </pc:sldChg>
      <pc:sldChg chg="add del ord">
        <pc:chgData name="Raphaella ASHRAF" userId="5247841d-d595-4c30-b58a-9906097315c5" providerId="ADAL" clId="{49E1EDC4-949C-4C9A-9207-A653EB98B0DF}" dt="2024-11-19T09:14:13.499" v="4766" actId="47"/>
        <pc:sldMkLst>
          <pc:docMk/>
          <pc:sldMk cId="3403564515" sldId="2147475288"/>
        </pc:sldMkLst>
      </pc:sldChg>
      <pc:sldChg chg="add del ord">
        <pc:chgData name="Raphaella ASHRAF" userId="5247841d-d595-4c30-b58a-9906097315c5" providerId="ADAL" clId="{49E1EDC4-949C-4C9A-9207-A653EB98B0DF}" dt="2024-11-19T09:14:13.499" v="4766" actId="47"/>
        <pc:sldMkLst>
          <pc:docMk/>
          <pc:sldMk cId="3944304118" sldId="2147475289"/>
        </pc:sldMkLst>
      </pc:sldChg>
      <pc:sldChg chg="add del ord">
        <pc:chgData name="Raphaella ASHRAF" userId="5247841d-d595-4c30-b58a-9906097315c5" providerId="ADAL" clId="{49E1EDC4-949C-4C9A-9207-A653EB98B0DF}" dt="2024-11-19T09:14:13.499" v="4766" actId="47"/>
        <pc:sldMkLst>
          <pc:docMk/>
          <pc:sldMk cId="1924555180" sldId="2147475290"/>
        </pc:sldMkLst>
      </pc:sldChg>
      <pc:sldChg chg="add del ord">
        <pc:chgData name="Raphaella ASHRAF" userId="5247841d-d595-4c30-b58a-9906097315c5" providerId="ADAL" clId="{49E1EDC4-949C-4C9A-9207-A653EB98B0DF}" dt="2024-11-19T09:14:13.499" v="4766" actId="47"/>
        <pc:sldMkLst>
          <pc:docMk/>
          <pc:sldMk cId="4085375276" sldId="2147475291"/>
        </pc:sldMkLst>
      </pc:sldChg>
      <pc:sldChg chg="add del ord">
        <pc:chgData name="Raphaella ASHRAF" userId="5247841d-d595-4c30-b58a-9906097315c5" providerId="ADAL" clId="{49E1EDC4-949C-4C9A-9207-A653EB98B0DF}" dt="2024-11-19T09:14:13.499" v="4766" actId="47"/>
        <pc:sldMkLst>
          <pc:docMk/>
          <pc:sldMk cId="837461978" sldId="2147475292"/>
        </pc:sldMkLst>
      </pc:sldChg>
      <pc:sldChg chg="add del ord">
        <pc:chgData name="Raphaella ASHRAF" userId="5247841d-d595-4c30-b58a-9906097315c5" providerId="ADAL" clId="{49E1EDC4-949C-4C9A-9207-A653EB98B0DF}" dt="2024-11-19T09:14:13.499" v="4766" actId="47"/>
        <pc:sldMkLst>
          <pc:docMk/>
          <pc:sldMk cId="2738939188" sldId="2147475293"/>
        </pc:sldMkLst>
      </pc:sldChg>
      <pc:sldChg chg="add del ord">
        <pc:chgData name="Raphaella ASHRAF" userId="5247841d-d595-4c30-b58a-9906097315c5" providerId="ADAL" clId="{49E1EDC4-949C-4C9A-9207-A653EB98B0DF}" dt="2024-11-19T09:14:13.499" v="4766" actId="47"/>
        <pc:sldMkLst>
          <pc:docMk/>
          <pc:sldMk cId="2403782851" sldId="2147475294"/>
        </pc:sldMkLst>
      </pc:sldChg>
      <pc:sldChg chg="add del ord">
        <pc:chgData name="Raphaella ASHRAF" userId="5247841d-d595-4c30-b58a-9906097315c5" providerId="ADAL" clId="{49E1EDC4-949C-4C9A-9207-A653EB98B0DF}" dt="2024-11-19T09:14:13.499" v="4766" actId="47"/>
        <pc:sldMkLst>
          <pc:docMk/>
          <pc:sldMk cId="211599398" sldId="2147475295"/>
        </pc:sldMkLst>
      </pc:sldChg>
      <pc:sldChg chg="add del ord">
        <pc:chgData name="Raphaella ASHRAF" userId="5247841d-d595-4c30-b58a-9906097315c5" providerId="ADAL" clId="{49E1EDC4-949C-4C9A-9207-A653EB98B0DF}" dt="2024-11-19T09:14:13.499" v="4766" actId="47"/>
        <pc:sldMkLst>
          <pc:docMk/>
          <pc:sldMk cId="2178771722" sldId="2147475296"/>
        </pc:sldMkLst>
      </pc:sldChg>
      <pc:sldChg chg="add del ord">
        <pc:chgData name="Raphaella ASHRAF" userId="5247841d-d595-4c30-b58a-9906097315c5" providerId="ADAL" clId="{49E1EDC4-949C-4C9A-9207-A653EB98B0DF}" dt="2024-11-19T09:14:13.499" v="4766" actId="47"/>
        <pc:sldMkLst>
          <pc:docMk/>
          <pc:sldMk cId="651443188" sldId="2147475297"/>
        </pc:sldMkLst>
      </pc:sldChg>
      <pc:sldChg chg="add del ord">
        <pc:chgData name="Raphaella ASHRAF" userId="5247841d-d595-4c30-b58a-9906097315c5" providerId="ADAL" clId="{49E1EDC4-949C-4C9A-9207-A653EB98B0DF}" dt="2024-11-19T09:14:13.499" v="4766" actId="47"/>
        <pc:sldMkLst>
          <pc:docMk/>
          <pc:sldMk cId="2148355724" sldId="2147475298"/>
        </pc:sldMkLst>
      </pc:sldChg>
      <pc:sldChg chg="add del ord">
        <pc:chgData name="Raphaella ASHRAF" userId="5247841d-d595-4c30-b58a-9906097315c5" providerId="ADAL" clId="{49E1EDC4-949C-4C9A-9207-A653EB98B0DF}" dt="2024-11-19T09:14:13.499" v="4766" actId="47"/>
        <pc:sldMkLst>
          <pc:docMk/>
          <pc:sldMk cId="1942097950" sldId="2147475299"/>
        </pc:sldMkLst>
      </pc:sldChg>
      <pc:sldChg chg="add del ord">
        <pc:chgData name="Raphaella ASHRAF" userId="5247841d-d595-4c30-b58a-9906097315c5" providerId="ADAL" clId="{49E1EDC4-949C-4C9A-9207-A653EB98B0DF}" dt="2024-11-19T09:14:13.499" v="4766" actId="47"/>
        <pc:sldMkLst>
          <pc:docMk/>
          <pc:sldMk cId="3140143617" sldId="2147475300"/>
        </pc:sldMkLst>
      </pc:sldChg>
      <pc:sldChg chg="add del ord">
        <pc:chgData name="Raphaella ASHRAF" userId="5247841d-d595-4c30-b58a-9906097315c5" providerId="ADAL" clId="{49E1EDC4-949C-4C9A-9207-A653EB98B0DF}" dt="2024-11-19T09:14:13.499" v="4766" actId="47"/>
        <pc:sldMkLst>
          <pc:docMk/>
          <pc:sldMk cId="4158654058" sldId="2147475301"/>
        </pc:sldMkLst>
      </pc:sldChg>
      <pc:sldChg chg="add del ord">
        <pc:chgData name="Raphaella ASHRAF" userId="5247841d-d595-4c30-b58a-9906097315c5" providerId="ADAL" clId="{49E1EDC4-949C-4C9A-9207-A653EB98B0DF}" dt="2024-11-19T09:14:13.499" v="4766" actId="47"/>
        <pc:sldMkLst>
          <pc:docMk/>
          <pc:sldMk cId="3015308578" sldId="2147475302"/>
        </pc:sldMkLst>
      </pc:sldChg>
      <pc:sldChg chg="add del ord">
        <pc:chgData name="Raphaella ASHRAF" userId="5247841d-d595-4c30-b58a-9906097315c5" providerId="ADAL" clId="{49E1EDC4-949C-4C9A-9207-A653EB98B0DF}" dt="2024-11-19T09:14:13.499" v="4766" actId="47"/>
        <pc:sldMkLst>
          <pc:docMk/>
          <pc:sldMk cId="2786257945" sldId="2147475303"/>
        </pc:sldMkLst>
      </pc:sldChg>
      <pc:sldChg chg="add del ord">
        <pc:chgData name="Raphaella ASHRAF" userId="5247841d-d595-4c30-b58a-9906097315c5" providerId="ADAL" clId="{49E1EDC4-949C-4C9A-9207-A653EB98B0DF}" dt="2024-11-19T09:14:13.499" v="4766" actId="47"/>
        <pc:sldMkLst>
          <pc:docMk/>
          <pc:sldMk cId="923046674" sldId="2147475304"/>
        </pc:sldMkLst>
      </pc:sldChg>
      <pc:sldChg chg="add del ord">
        <pc:chgData name="Raphaella ASHRAF" userId="5247841d-d595-4c30-b58a-9906097315c5" providerId="ADAL" clId="{49E1EDC4-949C-4C9A-9207-A653EB98B0DF}" dt="2024-11-19T09:14:13.499" v="4766" actId="47"/>
        <pc:sldMkLst>
          <pc:docMk/>
          <pc:sldMk cId="2052215124" sldId="2147475305"/>
        </pc:sldMkLst>
      </pc:sldChg>
      <pc:sldChg chg="add del ord">
        <pc:chgData name="Raphaella ASHRAF" userId="5247841d-d595-4c30-b58a-9906097315c5" providerId="ADAL" clId="{49E1EDC4-949C-4C9A-9207-A653EB98B0DF}" dt="2024-11-19T09:14:13.499" v="4766" actId="47"/>
        <pc:sldMkLst>
          <pc:docMk/>
          <pc:sldMk cId="1730490806" sldId="2147475306"/>
        </pc:sldMkLst>
      </pc:sldChg>
      <pc:sldChg chg="add del ord">
        <pc:chgData name="Raphaella ASHRAF" userId="5247841d-d595-4c30-b58a-9906097315c5" providerId="ADAL" clId="{49E1EDC4-949C-4C9A-9207-A653EB98B0DF}" dt="2024-11-19T09:14:13.499" v="4766" actId="47"/>
        <pc:sldMkLst>
          <pc:docMk/>
          <pc:sldMk cId="3109645975" sldId="2147475307"/>
        </pc:sldMkLst>
      </pc:sldChg>
      <pc:sldChg chg="add del ord">
        <pc:chgData name="Raphaella ASHRAF" userId="5247841d-d595-4c30-b58a-9906097315c5" providerId="ADAL" clId="{49E1EDC4-949C-4C9A-9207-A653EB98B0DF}" dt="2024-11-19T09:14:13.499" v="4766" actId="47"/>
        <pc:sldMkLst>
          <pc:docMk/>
          <pc:sldMk cId="3994509311" sldId="2147475308"/>
        </pc:sldMkLst>
      </pc:sldChg>
      <pc:sldChg chg="add del ord">
        <pc:chgData name="Raphaella ASHRAF" userId="5247841d-d595-4c30-b58a-9906097315c5" providerId="ADAL" clId="{49E1EDC4-949C-4C9A-9207-A653EB98B0DF}" dt="2024-11-19T09:14:13.499" v="4766" actId="47"/>
        <pc:sldMkLst>
          <pc:docMk/>
          <pc:sldMk cId="912545924" sldId="2147475309"/>
        </pc:sldMkLst>
      </pc:sldChg>
      <pc:sldChg chg="add del ord">
        <pc:chgData name="Raphaella ASHRAF" userId="5247841d-d595-4c30-b58a-9906097315c5" providerId="ADAL" clId="{49E1EDC4-949C-4C9A-9207-A653EB98B0DF}" dt="2024-11-19T09:14:13.499" v="4766" actId="47"/>
        <pc:sldMkLst>
          <pc:docMk/>
          <pc:sldMk cId="4001059090" sldId="2147475310"/>
        </pc:sldMkLst>
      </pc:sldChg>
      <pc:sldChg chg="add del ord">
        <pc:chgData name="Raphaella ASHRAF" userId="5247841d-d595-4c30-b58a-9906097315c5" providerId="ADAL" clId="{49E1EDC4-949C-4C9A-9207-A653EB98B0DF}" dt="2024-11-19T09:14:13.499" v="4766" actId="47"/>
        <pc:sldMkLst>
          <pc:docMk/>
          <pc:sldMk cId="4245203846" sldId="2147475311"/>
        </pc:sldMkLst>
      </pc:sldChg>
      <pc:sldChg chg="add del ord">
        <pc:chgData name="Raphaella ASHRAF" userId="5247841d-d595-4c30-b58a-9906097315c5" providerId="ADAL" clId="{49E1EDC4-949C-4C9A-9207-A653EB98B0DF}" dt="2024-11-19T09:14:13.499" v="4766" actId="47"/>
        <pc:sldMkLst>
          <pc:docMk/>
          <pc:sldMk cId="193970556" sldId="2147475312"/>
        </pc:sldMkLst>
      </pc:sldChg>
      <pc:sldChg chg="add del ord">
        <pc:chgData name="Raphaella ASHRAF" userId="5247841d-d595-4c30-b58a-9906097315c5" providerId="ADAL" clId="{49E1EDC4-949C-4C9A-9207-A653EB98B0DF}" dt="2024-11-19T09:14:13.499" v="4766" actId="47"/>
        <pc:sldMkLst>
          <pc:docMk/>
          <pc:sldMk cId="4106246111" sldId="2147475313"/>
        </pc:sldMkLst>
      </pc:sldChg>
      <pc:sldChg chg="add del ord">
        <pc:chgData name="Raphaella ASHRAF" userId="5247841d-d595-4c30-b58a-9906097315c5" providerId="ADAL" clId="{49E1EDC4-949C-4C9A-9207-A653EB98B0DF}" dt="2024-11-19T09:14:13.499" v="4766" actId="47"/>
        <pc:sldMkLst>
          <pc:docMk/>
          <pc:sldMk cId="1299830648" sldId="2147475314"/>
        </pc:sldMkLst>
      </pc:sldChg>
      <pc:sldChg chg="add del ord">
        <pc:chgData name="Raphaella ASHRAF" userId="5247841d-d595-4c30-b58a-9906097315c5" providerId="ADAL" clId="{49E1EDC4-949C-4C9A-9207-A653EB98B0DF}" dt="2024-11-19T09:14:13.499" v="4766" actId="47"/>
        <pc:sldMkLst>
          <pc:docMk/>
          <pc:sldMk cId="3613725161" sldId="2147475315"/>
        </pc:sldMkLst>
      </pc:sldChg>
      <pc:sldChg chg="add del ord">
        <pc:chgData name="Raphaella ASHRAF" userId="5247841d-d595-4c30-b58a-9906097315c5" providerId="ADAL" clId="{49E1EDC4-949C-4C9A-9207-A653EB98B0DF}" dt="2024-11-19T09:14:13.499" v="4766" actId="47"/>
        <pc:sldMkLst>
          <pc:docMk/>
          <pc:sldMk cId="2189760094" sldId="2147475316"/>
        </pc:sldMkLst>
      </pc:sldChg>
      <pc:sldChg chg="add del ord">
        <pc:chgData name="Raphaella ASHRAF" userId="5247841d-d595-4c30-b58a-9906097315c5" providerId="ADAL" clId="{49E1EDC4-949C-4C9A-9207-A653EB98B0DF}" dt="2024-11-19T09:14:13.499" v="4766" actId="47"/>
        <pc:sldMkLst>
          <pc:docMk/>
          <pc:sldMk cId="2649149607" sldId="2147475317"/>
        </pc:sldMkLst>
      </pc:sldChg>
      <pc:sldChg chg="add del ord">
        <pc:chgData name="Raphaella ASHRAF" userId="5247841d-d595-4c30-b58a-9906097315c5" providerId="ADAL" clId="{49E1EDC4-949C-4C9A-9207-A653EB98B0DF}" dt="2024-11-19T09:14:13.499" v="4766" actId="47"/>
        <pc:sldMkLst>
          <pc:docMk/>
          <pc:sldMk cId="1479758343" sldId="2147475318"/>
        </pc:sldMkLst>
      </pc:sldChg>
      <pc:sldChg chg="add del ord">
        <pc:chgData name="Raphaella ASHRAF" userId="5247841d-d595-4c30-b58a-9906097315c5" providerId="ADAL" clId="{49E1EDC4-949C-4C9A-9207-A653EB98B0DF}" dt="2024-11-19T09:14:13.499" v="4766" actId="47"/>
        <pc:sldMkLst>
          <pc:docMk/>
          <pc:sldMk cId="3590259346" sldId="2147475319"/>
        </pc:sldMkLst>
      </pc:sldChg>
      <pc:sldChg chg="add del ord">
        <pc:chgData name="Raphaella ASHRAF" userId="5247841d-d595-4c30-b58a-9906097315c5" providerId="ADAL" clId="{49E1EDC4-949C-4C9A-9207-A653EB98B0DF}" dt="2024-11-19T09:14:13.499" v="4766" actId="47"/>
        <pc:sldMkLst>
          <pc:docMk/>
          <pc:sldMk cId="616606160" sldId="2147475320"/>
        </pc:sldMkLst>
      </pc:sldChg>
      <pc:sldChg chg="add del ord">
        <pc:chgData name="Raphaella ASHRAF" userId="5247841d-d595-4c30-b58a-9906097315c5" providerId="ADAL" clId="{49E1EDC4-949C-4C9A-9207-A653EB98B0DF}" dt="2024-11-19T09:14:13.499" v="4766" actId="47"/>
        <pc:sldMkLst>
          <pc:docMk/>
          <pc:sldMk cId="433318133" sldId="2147475321"/>
        </pc:sldMkLst>
      </pc:sldChg>
      <pc:sldChg chg="add del ord">
        <pc:chgData name="Raphaella ASHRAF" userId="5247841d-d595-4c30-b58a-9906097315c5" providerId="ADAL" clId="{49E1EDC4-949C-4C9A-9207-A653EB98B0DF}" dt="2024-11-19T09:14:13.499" v="4766" actId="47"/>
        <pc:sldMkLst>
          <pc:docMk/>
          <pc:sldMk cId="1297678945" sldId="2147475322"/>
        </pc:sldMkLst>
      </pc:sldChg>
      <pc:sldChg chg="add del ord">
        <pc:chgData name="Raphaella ASHRAF" userId="5247841d-d595-4c30-b58a-9906097315c5" providerId="ADAL" clId="{49E1EDC4-949C-4C9A-9207-A653EB98B0DF}" dt="2024-11-19T09:14:13.499" v="4766" actId="47"/>
        <pc:sldMkLst>
          <pc:docMk/>
          <pc:sldMk cId="76955592" sldId="2147475323"/>
        </pc:sldMkLst>
      </pc:sldChg>
      <pc:sldChg chg="add del ord">
        <pc:chgData name="Raphaella ASHRAF" userId="5247841d-d595-4c30-b58a-9906097315c5" providerId="ADAL" clId="{49E1EDC4-949C-4C9A-9207-A653EB98B0DF}" dt="2024-11-19T09:14:13.499" v="4766" actId="47"/>
        <pc:sldMkLst>
          <pc:docMk/>
          <pc:sldMk cId="316677535" sldId="2147475324"/>
        </pc:sldMkLst>
      </pc:sldChg>
      <pc:sldChg chg="add del ord">
        <pc:chgData name="Raphaella ASHRAF" userId="5247841d-d595-4c30-b58a-9906097315c5" providerId="ADAL" clId="{49E1EDC4-949C-4C9A-9207-A653EB98B0DF}" dt="2024-11-19T09:14:13.499" v="4766" actId="47"/>
        <pc:sldMkLst>
          <pc:docMk/>
          <pc:sldMk cId="2029701728" sldId="2147475325"/>
        </pc:sldMkLst>
      </pc:sldChg>
      <pc:sldChg chg="add del ord">
        <pc:chgData name="Raphaella ASHRAF" userId="5247841d-d595-4c30-b58a-9906097315c5" providerId="ADAL" clId="{49E1EDC4-949C-4C9A-9207-A653EB98B0DF}" dt="2024-11-19T09:14:13.499" v="4766" actId="47"/>
        <pc:sldMkLst>
          <pc:docMk/>
          <pc:sldMk cId="2410890455" sldId="2147475326"/>
        </pc:sldMkLst>
      </pc:sldChg>
      <pc:sldChg chg="add del ord">
        <pc:chgData name="Raphaella ASHRAF" userId="5247841d-d595-4c30-b58a-9906097315c5" providerId="ADAL" clId="{49E1EDC4-949C-4C9A-9207-A653EB98B0DF}" dt="2024-11-19T09:14:13.499" v="4766" actId="47"/>
        <pc:sldMkLst>
          <pc:docMk/>
          <pc:sldMk cId="3554991463" sldId="2147475327"/>
        </pc:sldMkLst>
      </pc:sldChg>
      <pc:sldChg chg="add del ord">
        <pc:chgData name="Raphaella ASHRAF" userId="5247841d-d595-4c30-b58a-9906097315c5" providerId="ADAL" clId="{49E1EDC4-949C-4C9A-9207-A653EB98B0DF}" dt="2024-11-19T09:14:13.499" v="4766" actId="47"/>
        <pc:sldMkLst>
          <pc:docMk/>
          <pc:sldMk cId="972067799" sldId="2147475328"/>
        </pc:sldMkLst>
      </pc:sldChg>
      <pc:sldChg chg="add del ord">
        <pc:chgData name="Raphaella ASHRAF" userId="5247841d-d595-4c30-b58a-9906097315c5" providerId="ADAL" clId="{49E1EDC4-949C-4C9A-9207-A653EB98B0DF}" dt="2024-11-19T09:14:13.499" v="4766" actId="47"/>
        <pc:sldMkLst>
          <pc:docMk/>
          <pc:sldMk cId="3312097451" sldId="2147475329"/>
        </pc:sldMkLst>
      </pc:sldChg>
      <pc:sldChg chg="add del ord">
        <pc:chgData name="Raphaella ASHRAF" userId="5247841d-d595-4c30-b58a-9906097315c5" providerId="ADAL" clId="{49E1EDC4-949C-4C9A-9207-A653EB98B0DF}" dt="2024-11-19T09:14:13.499" v="4766" actId="47"/>
        <pc:sldMkLst>
          <pc:docMk/>
          <pc:sldMk cId="491776234" sldId="2147475330"/>
        </pc:sldMkLst>
      </pc:sldChg>
      <pc:sldChg chg="add del ord">
        <pc:chgData name="Raphaella ASHRAF" userId="5247841d-d595-4c30-b58a-9906097315c5" providerId="ADAL" clId="{49E1EDC4-949C-4C9A-9207-A653EB98B0DF}" dt="2024-11-19T09:14:13.499" v="4766" actId="47"/>
        <pc:sldMkLst>
          <pc:docMk/>
          <pc:sldMk cId="548413440" sldId="2147475331"/>
        </pc:sldMkLst>
      </pc:sldChg>
      <pc:sldChg chg="add del ord">
        <pc:chgData name="Raphaella ASHRAF" userId="5247841d-d595-4c30-b58a-9906097315c5" providerId="ADAL" clId="{49E1EDC4-949C-4C9A-9207-A653EB98B0DF}" dt="2024-11-19T09:14:13.499" v="4766" actId="47"/>
        <pc:sldMkLst>
          <pc:docMk/>
          <pc:sldMk cId="2199705026" sldId="2147475332"/>
        </pc:sldMkLst>
      </pc:sldChg>
      <pc:sldChg chg="add del ord">
        <pc:chgData name="Raphaella ASHRAF" userId="5247841d-d595-4c30-b58a-9906097315c5" providerId="ADAL" clId="{49E1EDC4-949C-4C9A-9207-A653EB98B0DF}" dt="2024-11-19T09:14:13.499" v="4766" actId="47"/>
        <pc:sldMkLst>
          <pc:docMk/>
          <pc:sldMk cId="1389754075" sldId="2147475333"/>
        </pc:sldMkLst>
      </pc:sldChg>
      <pc:sldChg chg="add del ord">
        <pc:chgData name="Raphaella ASHRAF" userId="5247841d-d595-4c30-b58a-9906097315c5" providerId="ADAL" clId="{49E1EDC4-949C-4C9A-9207-A653EB98B0DF}" dt="2024-11-19T09:14:13.499" v="4766" actId="47"/>
        <pc:sldMkLst>
          <pc:docMk/>
          <pc:sldMk cId="541614139" sldId="2147475334"/>
        </pc:sldMkLst>
      </pc:sldChg>
      <pc:sldChg chg="add del ord">
        <pc:chgData name="Raphaella ASHRAF" userId="5247841d-d595-4c30-b58a-9906097315c5" providerId="ADAL" clId="{49E1EDC4-949C-4C9A-9207-A653EB98B0DF}" dt="2024-11-19T09:14:13.499" v="4766" actId="47"/>
        <pc:sldMkLst>
          <pc:docMk/>
          <pc:sldMk cId="67381529" sldId="2147475335"/>
        </pc:sldMkLst>
      </pc:sldChg>
      <pc:sldChg chg="add del ord">
        <pc:chgData name="Raphaella ASHRAF" userId="5247841d-d595-4c30-b58a-9906097315c5" providerId="ADAL" clId="{49E1EDC4-949C-4C9A-9207-A653EB98B0DF}" dt="2024-11-19T09:14:13.499" v="4766" actId="47"/>
        <pc:sldMkLst>
          <pc:docMk/>
          <pc:sldMk cId="571440500" sldId="2147475336"/>
        </pc:sldMkLst>
      </pc:sldChg>
      <pc:sldChg chg="add del ord">
        <pc:chgData name="Raphaella ASHRAF" userId="5247841d-d595-4c30-b58a-9906097315c5" providerId="ADAL" clId="{49E1EDC4-949C-4C9A-9207-A653EB98B0DF}" dt="2024-11-19T09:14:13.499" v="4766" actId="47"/>
        <pc:sldMkLst>
          <pc:docMk/>
          <pc:sldMk cId="1459931773" sldId="2147475337"/>
        </pc:sldMkLst>
      </pc:sldChg>
      <pc:sldChg chg="add del ord">
        <pc:chgData name="Raphaella ASHRAF" userId="5247841d-d595-4c30-b58a-9906097315c5" providerId="ADAL" clId="{49E1EDC4-949C-4C9A-9207-A653EB98B0DF}" dt="2024-11-19T09:14:13.499" v="4766" actId="47"/>
        <pc:sldMkLst>
          <pc:docMk/>
          <pc:sldMk cId="1435394545" sldId="2147475338"/>
        </pc:sldMkLst>
      </pc:sldChg>
      <pc:sldChg chg="add del ord">
        <pc:chgData name="Raphaella ASHRAF" userId="5247841d-d595-4c30-b58a-9906097315c5" providerId="ADAL" clId="{49E1EDC4-949C-4C9A-9207-A653EB98B0DF}" dt="2024-11-19T09:14:13.499" v="4766" actId="47"/>
        <pc:sldMkLst>
          <pc:docMk/>
          <pc:sldMk cId="549503852" sldId="2147475339"/>
        </pc:sldMkLst>
      </pc:sldChg>
      <pc:sldChg chg="add del ord">
        <pc:chgData name="Raphaella ASHRAF" userId="5247841d-d595-4c30-b58a-9906097315c5" providerId="ADAL" clId="{49E1EDC4-949C-4C9A-9207-A653EB98B0DF}" dt="2024-11-19T09:14:13.499" v="4766" actId="47"/>
        <pc:sldMkLst>
          <pc:docMk/>
          <pc:sldMk cId="2156898610" sldId="2147475340"/>
        </pc:sldMkLst>
      </pc:sldChg>
      <pc:sldChg chg="add del ord">
        <pc:chgData name="Raphaella ASHRAF" userId="5247841d-d595-4c30-b58a-9906097315c5" providerId="ADAL" clId="{49E1EDC4-949C-4C9A-9207-A653EB98B0DF}" dt="2024-11-19T09:14:13.499" v="4766" actId="47"/>
        <pc:sldMkLst>
          <pc:docMk/>
          <pc:sldMk cId="1357926214" sldId="2147475341"/>
        </pc:sldMkLst>
      </pc:sldChg>
      <pc:sldChg chg="add del ord">
        <pc:chgData name="Raphaella ASHRAF" userId="5247841d-d595-4c30-b58a-9906097315c5" providerId="ADAL" clId="{49E1EDC4-949C-4C9A-9207-A653EB98B0DF}" dt="2024-11-19T09:14:13.499" v="4766" actId="47"/>
        <pc:sldMkLst>
          <pc:docMk/>
          <pc:sldMk cId="991150850" sldId="2147475342"/>
        </pc:sldMkLst>
      </pc:sldChg>
      <pc:sldChg chg="add del ord">
        <pc:chgData name="Raphaella ASHRAF" userId="5247841d-d595-4c30-b58a-9906097315c5" providerId="ADAL" clId="{49E1EDC4-949C-4C9A-9207-A653EB98B0DF}" dt="2024-11-19T09:14:13.499" v="4766" actId="47"/>
        <pc:sldMkLst>
          <pc:docMk/>
          <pc:sldMk cId="2284501633" sldId="2147475343"/>
        </pc:sldMkLst>
      </pc:sldChg>
      <pc:sldChg chg="add del ord">
        <pc:chgData name="Raphaella ASHRAF" userId="5247841d-d595-4c30-b58a-9906097315c5" providerId="ADAL" clId="{49E1EDC4-949C-4C9A-9207-A653EB98B0DF}" dt="2024-11-19T09:14:13.499" v="4766" actId="47"/>
        <pc:sldMkLst>
          <pc:docMk/>
          <pc:sldMk cId="1903625123" sldId="2147475344"/>
        </pc:sldMkLst>
      </pc:sldChg>
      <pc:sldChg chg="add del ord">
        <pc:chgData name="Raphaella ASHRAF" userId="5247841d-d595-4c30-b58a-9906097315c5" providerId="ADAL" clId="{49E1EDC4-949C-4C9A-9207-A653EB98B0DF}" dt="2024-11-19T09:14:13.499" v="4766" actId="47"/>
        <pc:sldMkLst>
          <pc:docMk/>
          <pc:sldMk cId="448475798" sldId="2147475345"/>
        </pc:sldMkLst>
      </pc:sldChg>
      <pc:sldChg chg="add del ord">
        <pc:chgData name="Raphaella ASHRAF" userId="5247841d-d595-4c30-b58a-9906097315c5" providerId="ADAL" clId="{49E1EDC4-949C-4C9A-9207-A653EB98B0DF}" dt="2024-11-19T09:14:13.499" v="4766" actId="47"/>
        <pc:sldMkLst>
          <pc:docMk/>
          <pc:sldMk cId="3861745744" sldId="2147475346"/>
        </pc:sldMkLst>
      </pc:sldChg>
      <pc:sldChg chg="add del ord">
        <pc:chgData name="Raphaella ASHRAF" userId="5247841d-d595-4c30-b58a-9906097315c5" providerId="ADAL" clId="{49E1EDC4-949C-4C9A-9207-A653EB98B0DF}" dt="2024-11-19T09:14:13.499" v="4766" actId="47"/>
        <pc:sldMkLst>
          <pc:docMk/>
          <pc:sldMk cId="365621353" sldId="2147475347"/>
        </pc:sldMkLst>
      </pc:sldChg>
      <pc:sldChg chg="add del ord">
        <pc:chgData name="Raphaella ASHRAF" userId="5247841d-d595-4c30-b58a-9906097315c5" providerId="ADAL" clId="{49E1EDC4-949C-4C9A-9207-A653EB98B0DF}" dt="2024-11-19T09:14:13.499" v="4766" actId="47"/>
        <pc:sldMkLst>
          <pc:docMk/>
          <pc:sldMk cId="1203173112" sldId="2147475348"/>
        </pc:sldMkLst>
      </pc:sldChg>
      <pc:sldChg chg="add del ord">
        <pc:chgData name="Raphaella ASHRAF" userId="5247841d-d595-4c30-b58a-9906097315c5" providerId="ADAL" clId="{49E1EDC4-949C-4C9A-9207-A653EB98B0DF}" dt="2024-11-19T09:14:13.499" v="4766" actId="47"/>
        <pc:sldMkLst>
          <pc:docMk/>
          <pc:sldMk cId="2443527041" sldId="2147475349"/>
        </pc:sldMkLst>
      </pc:sldChg>
      <pc:sldChg chg="add del ord">
        <pc:chgData name="Raphaella ASHRAF" userId="5247841d-d595-4c30-b58a-9906097315c5" providerId="ADAL" clId="{49E1EDC4-949C-4C9A-9207-A653EB98B0DF}" dt="2024-11-19T09:14:13.499" v="4766" actId="47"/>
        <pc:sldMkLst>
          <pc:docMk/>
          <pc:sldMk cId="427599821" sldId="2147475350"/>
        </pc:sldMkLst>
      </pc:sldChg>
      <pc:sldChg chg="add del ord">
        <pc:chgData name="Raphaella ASHRAF" userId="5247841d-d595-4c30-b58a-9906097315c5" providerId="ADAL" clId="{49E1EDC4-949C-4C9A-9207-A653EB98B0DF}" dt="2024-11-19T09:14:13.499" v="4766" actId="47"/>
        <pc:sldMkLst>
          <pc:docMk/>
          <pc:sldMk cId="959330501" sldId="2147475351"/>
        </pc:sldMkLst>
      </pc:sldChg>
      <pc:sldChg chg="add del ord">
        <pc:chgData name="Raphaella ASHRAF" userId="5247841d-d595-4c30-b58a-9906097315c5" providerId="ADAL" clId="{49E1EDC4-949C-4C9A-9207-A653EB98B0DF}" dt="2024-11-19T09:14:13.499" v="4766" actId="47"/>
        <pc:sldMkLst>
          <pc:docMk/>
          <pc:sldMk cId="3962932849" sldId="2147475352"/>
        </pc:sldMkLst>
      </pc:sldChg>
      <pc:sldChg chg="add del ord">
        <pc:chgData name="Raphaella ASHRAF" userId="5247841d-d595-4c30-b58a-9906097315c5" providerId="ADAL" clId="{49E1EDC4-949C-4C9A-9207-A653EB98B0DF}" dt="2024-11-19T09:14:13.499" v="4766" actId="47"/>
        <pc:sldMkLst>
          <pc:docMk/>
          <pc:sldMk cId="1520828611" sldId="2147475353"/>
        </pc:sldMkLst>
      </pc:sldChg>
      <pc:sldChg chg="add del ord">
        <pc:chgData name="Raphaella ASHRAF" userId="5247841d-d595-4c30-b58a-9906097315c5" providerId="ADAL" clId="{49E1EDC4-949C-4C9A-9207-A653EB98B0DF}" dt="2024-11-19T09:14:13.499" v="4766" actId="47"/>
        <pc:sldMkLst>
          <pc:docMk/>
          <pc:sldMk cId="3556861028" sldId="2147475354"/>
        </pc:sldMkLst>
      </pc:sldChg>
      <pc:sldChg chg="add del ord">
        <pc:chgData name="Raphaella ASHRAF" userId="5247841d-d595-4c30-b58a-9906097315c5" providerId="ADAL" clId="{49E1EDC4-949C-4C9A-9207-A653EB98B0DF}" dt="2024-11-19T09:14:13.499" v="4766" actId="47"/>
        <pc:sldMkLst>
          <pc:docMk/>
          <pc:sldMk cId="3650822112" sldId="2147475355"/>
        </pc:sldMkLst>
      </pc:sldChg>
      <pc:sldChg chg="add del ord">
        <pc:chgData name="Raphaella ASHRAF" userId="5247841d-d595-4c30-b58a-9906097315c5" providerId="ADAL" clId="{49E1EDC4-949C-4C9A-9207-A653EB98B0DF}" dt="2024-11-19T09:14:13.499" v="4766" actId="47"/>
        <pc:sldMkLst>
          <pc:docMk/>
          <pc:sldMk cId="1768147294" sldId="2147475356"/>
        </pc:sldMkLst>
      </pc:sldChg>
      <pc:sldChg chg="add del ord">
        <pc:chgData name="Raphaella ASHRAF" userId="5247841d-d595-4c30-b58a-9906097315c5" providerId="ADAL" clId="{49E1EDC4-949C-4C9A-9207-A653EB98B0DF}" dt="2024-11-19T09:14:13.499" v="4766" actId="47"/>
        <pc:sldMkLst>
          <pc:docMk/>
          <pc:sldMk cId="730259755" sldId="2147475357"/>
        </pc:sldMkLst>
      </pc:sldChg>
      <pc:sldChg chg="add del ord">
        <pc:chgData name="Raphaella ASHRAF" userId="5247841d-d595-4c30-b58a-9906097315c5" providerId="ADAL" clId="{49E1EDC4-949C-4C9A-9207-A653EB98B0DF}" dt="2024-11-19T09:14:13.499" v="4766" actId="47"/>
        <pc:sldMkLst>
          <pc:docMk/>
          <pc:sldMk cId="2729493712" sldId="2147475358"/>
        </pc:sldMkLst>
      </pc:sldChg>
      <pc:sldChg chg="add del ord">
        <pc:chgData name="Raphaella ASHRAF" userId="5247841d-d595-4c30-b58a-9906097315c5" providerId="ADAL" clId="{49E1EDC4-949C-4C9A-9207-A653EB98B0DF}" dt="2024-11-19T09:14:13.499" v="4766" actId="47"/>
        <pc:sldMkLst>
          <pc:docMk/>
          <pc:sldMk cId="3318170632" sldId="2147475359"/>
        </pc:sldMkLst>
      </pc:sldChg>
      <pc:sldChg chg="add del ord">
        <pc:chgData name="Raphaella ASHRAF" userId="5247841d-d595-4c30-b58a-9906097315c5" providerId="ADAL" clId="{49E1EDC4-949C-4C9A-9207-A653EB98B0DF}" dt="2024-11-19T09:14:13.499" v="4766" actId="47"/>
        <pc:sldMkLst>
          <pc:docMk/>
          <pc:sldMk cId="1533138425" sldId="2147475360"/>
        </pc:sldMkLst>
      </pc:sldChg>
      <pc:sldChg chg="add del ord">
        <pc:chgData name="Raphaella ASHRAF" userId="5247841d-d595-4c30-b58a-9906097315c5" providerId="ADAL" clId="{49E1EDC4-949C-4C9A-9207-A653EB98B0DF}" dt="2024-11-19T09:14:13.499" v="4766" actId="47"/>
        <pc:sldMkLst>
          <pc:docMk/>
          <pc:sldMk cId="4151553312" sldId="2147475361"/>
        </pc:sldMkLst>
      </pc:sldChg>
      <pc:sldChg chg="add del ord">
        <pc:chgData name="Raphaella ASHRAF" userId="5247841d-d595-4c30-b58a-9906097315c5" providerId="ADAL" clId="{49E1EDC4-949C-4C9A-9207-A653EB98B0DF}" dt="2024-11-19T09:14:13.499" v="4766" actId="47"/>
        <pc:sldMkLst>
          <pc:docMk/>
          <pc:sldMk cId="1678457929" sldId="2147475362"/>
        </pc:sldMkLst>
      </pc:sldChg>
      <pc:sldChg chg="add del ord">
        <pc:chgData name="Raphaella ASHRAF" userId="5247841d-d595-4c30-b58a-9906097315c5" providerId="ADAL" clId="{49E1EDC4-949C-4C9A-9207-A653EB98B0DF}" dt="2024-11-19T09:14:13.499" v="4766" actId="47"/>
        <pc:sldMkLst>
          <pc:docMk/>
          <pc:sldMk cId="2106372004" sldId="2147475363"/>
        </pc:sldMkLst>
      </pc:sldChg>
      <pc:sldChg chg="add del ord">
        <pc:chgData name="Raphaella ASHRAF" userId="5247841d-d595-4c30-b58a-9906097315c5" providerId="ADAL" clId="{49E1EDC4-949C-4C9A-9207-A653EB98B0DF}" dt="2024-11-19T09:14:13.499" v="4766" actId="47"/>
        <pc:sldMkLst>
          <pc:docMk/>
          <pc:sldMk cId="3610383621" sldId="2147475364"/>
        </pc:sldMkLst>
      </pc:sldChg>
      <pc:sldChg chg="add del ord">
        <pc:chgData name="Raphaella ASHRAF" userId="5247841d-d595-4c30-b58a-9906097315c5" providerId="ADAL" clId="{49E1EDC4-949C-4C9A-9207-A653EB98B0DF}" dt="2024-11-19T09:14:13.499" v="4766" actId="47"/>
        <pc:sldMkLst>
          <pc:docMk/>
          <pc:sldMk cId="2809999073" sldId="2147475365"/>
        </pc:sldMkLst>
      </pc:sldChg>
      <pc:sldChg chg="add del ord">
        <pc:chgData name="Raphaella ASHRAF" userId="5247841d-d595-4c30-b58a-9906097315c5" providerId="ADAL" clId="{49E1EDC4-949C-4C9A-9207-A653EB98B0DF}" dt="2024-11-19T09:14:13.499" v="4766" actId="47"/>
        <pc:sldMkLst>
          <pc:docMk/>
          <pc:sldMk cId="2819923974" sldId="2147475366"/>
        </pc:sldMkLst>
      </pc:sldChg>
      <pc:sldChg chg="add del ord">
        <pc:chgData name="Raphaella ASHRAF" userId="5247841d-d595-4c30-b58a-9906097315c5" providerId="ADAL" clId="{49E1EDC4-949C-4C9A-9207-A653EB98B0DF}" dt="2024-11-19T09:14:13.499" v="4766" actId="47"/>
        <pc:sldMkLst>
          <pc:docMk/>
          <pc:sldMk cId="1522172182" sldId="2147475367"/>
        </pc:sldMkLst>
      </pc:sldChg>
      <pc:sldChg chg="add del ord">
        <pc:chgData name="Raphaella ASHRAF" userId="5247841d-d595-4c30-b58a-9906097315c5" providerId="ADAL" clId="{49E1EDC4-949C-4C9A-9207-A653EB98B0DF}" dt="2024-11-19T09:14:13.499" v="4766" actId="47"/>
        <pc:sldMkLst>
          <pc:docMk/>
          <pc:sldMk cId="2372704757" sldId="2147475368"/>
        </pc:sldMkLst>
      </pc:sldChg>
      <pc:sldChg chg="add del ord">
        <pc:chgData name="Raphaella ASHRAF" userId="5247841d-d595-4c30-b58a-9906097315c5" providerId="ADAL" clId="{49E1EDC4-949C-4C9A-9207-A653EB98B0DF}" dt="2024-11-19T09:14:13.499" v="4766" actId="47"/>
        <pc:sldMkLst>
          <pc:docMk/>
          <pc:sldMk cId="2329721517" sldId="2147475369"/>
        </pc:sldMkLst>
      </pc:sldChg>
      <pc:sldChg chg="add del ord">
        <pc:chgData name="Raphaella ASHRAF" userId="5247841d-d595-4c30-b58a-9906097315c5" providerId="ADAL" clId="{49E1EDC4-949C-4C9A-9207-A653EB98B0DF}" dt="2024-11-19T09:14:13.499" v="4766" actId="47"/>
        <pc:sldMkLst>
          <pc:docMk/>
          <pc:sldMk cId="3497920926" sldId="2147475370"/>
        </pc:sldMkLst>
      </pc:sldChg>
      <pc:sldChg chg="add del ord">
        <pc:chgData name="Raphaella ASHRAF" userId="5247841d-d595-4c30-b58a-9906097315c5" providerId="ADAL" clId="{49E1EDC4-949C-4C9A-9207-A653EB98B0DF}" dt="2024-11-19T09:14:13.499" v="4766" actId="47"/>
        <pc:sldMkLst>
          <pc:docMk/>
          <pc:sldMk cId="917643285" sldId="2147475371"/>
        </pc:sldMkLst>
      </pc:sldChg>
      <pc:sldChg chg="add del ord">
        <pc:chgData name="Raphaella ASHRAF" userId="5247841d-d595-4c30-b58a-9906097315c5" providerId="ADAL" clId="{49E1EDC4-949C-4C9A-9207-A653EB98B0DF}" dt="2024-11-19T09:14:13.499" v="4766" actId="47"/>
        <pc:sldMkLst>
          <pc:docMk/>
          <pc:sldMk cId="2758031154" sldId="2147475372"/>
        </pc:sldMkLst>
      </pc:sldChg>
      <pc:sldChg chg="add del ord">
        <pc:chgData name="Raphaella ASHRAF" userId="5247841d-d595-4c30-b58a-9906097315c5" providerId="ADAL" clId="{49E1EDC4-949C-4C9A-9207-A653EB98B0DF}" dt="2024-11-19T09:14:13.499" v="4766" actId="47"/>
        <pc:sldMkLst>
          <pc:docMk/>
          <pc:sldMk cId="32817026" sldId="2147475373"/>
        </pc:sldMkLst>
      </pc:sldChg>
      <pc:sldChg chg="add del ord">
        <pc:chgData name="Raphaella ASHRAF" userId="5247841d-d595-4c30-b58a-9906097315c5" providerId="ADAL" clId="{49E1EDC4-949C-4C9A-9207-A653EB98B0DF}" dt="2024-11-19T09:14:13.499" v="4766" actId="47"/>
        <pc:sldMkLst>
          <pc:docMk/>
          <pc:sldMk cId="762354789" sldId="2147475374"/>
        </pc:sldMkLst>
      </pc:sldChg>
      <pc:sldChg chg="add del ord">
        <pc:chgData name="Raphaella ASHRAF" userId="5247841d-d595-4c30-b58a-9906097315c5" providerId="ADAL" clId="{49E1EDC4-949C-4C9A-9207-A653EB98B0DF}" dt="2024-11-19T09:14:13.499" v="4766" actId="47"/>
        <pc:sldMkLst>
          <pc:docMk/>
          <pc:sldMk cId="3565552479" sldId="2147475375"/>
        </pc:sldMkLst>
      </pc:sldChg>
      <pc:sldChg chg="add del ord">
        <pc:chgData name="Raphaella ASHRAF" userId="5247841d-d595-4c30-b58a-9906097315c5" providerId="ADAL" clId="{49E1EDC4-949C-4C9A-9207-A653EB98B0DF}" dt="2024-11-19T09:14:13.499" v="4766" actId="47"/>
        <pc:sldMkLst>
          <pc:docMk/>
          <pc:sldMk cId="1949170866" sldId="2147475376"/>
        </pc:sldMkLst>
      </pc:sldChg>
      <pc:sldChg chg="add del ord">
        <pc:chgData name="Raphaella ASHRAF" userId="5247841d-d595-4c30-b58a-9906097315c5" providerId="ADAL" clId="{49E1EDC4-949C-4C9A-9207-A653EB98B0DF}" dt="2024-11-19T09:14:13.499" v="4766" actId="47"/>
        <pc:sldMkLst>
          <pc:docMk/>
          <pc:sldMk cId="4105863618" sldId="2147475377"/>
        </pc:sldMkLst>
      </pc:sldChg>
      <pc:sldChg chg="add del ord">
        <pc:chgData name="Raphaella ASHRAF" userId="5247841d-d595-4c30-b58a-9906097315c5" providerId="ADAL" clId="{49E1EDC4-949C-4C9A-9207-A653EB98B0DF}" dt="2024-11-19T09:14:13.499" v="4766" actId="47"/>
        <pc:sldMkLst>
          <pc:docMk/>
          <pc:sldMk cId="3453494531" sldId="2147475378"/>
        </pc:sldMkLst>
      </pc:sldChg>
      <pc:sldChg chg="add del ord">
        <pc:chgData name="Raphaella ASHRAF" userId="5247841d-d595-4c30-b58a-9906097315c5" providerId="ADAL" clId="{49E1EDC4-949C-4C9A-9207-A653EB98B0DF}" dt="2024-11-19T09:14:13.499" v="4766" actId="47"/>
        <pc:sldMkLst>
          <pc:docMk/>
          <pc:sldMk cId="3565706974" sldId="2147475379"/>
        </pc:sldMkLst>
      </pc:sldChg>
      <pc:sldChg chg="add del ord">
        <pc:chgData name="Raphaella ASHRAF" userId="5247841d-d595-4c30-b58a-9906097315c5" providerId="ADAL" clId="{49E1EDC4-949C-4C9A-9207-A653EB98B0DF}" dt="2024-11-19T09:14:13.499" v="4766" actId="47"/>
        <pc:sldMkLst>
          <pc:docMk/>
          <pc:sldMk cId="629986157" sldId="2147475380"/>
        </pc:sldMkLst>
      </pc:sldChg>
      <pc:sldChg chg="add del ord">
        <pc:chgData name="Raphaella ASHRAF" userId="5247841d-d595-4c30-b58a-9906097315c5" providerId="ADAL" clId="{49E1EDC4-949C-4C9A-9207-A653EB98B0DF}" dt="2024-11-19T09:14:13.499" v="4766" actId="47"/>
        <pc:sldMkLst>
          <pc:docMk/>
          <pc:sldMk cId="1778194087" sldId="2147475381"/>
        </pc:sldMkLst>
      </pc:sldChg>
      <pc:sldChg chg="add del ord">
        <pc:chgData name="Raphaella ASHRAF" userId="5247841d-d595-4c30-b58a-9906097315c5" providerId="ADAL" clId="{49E1EDC4-949C-4C9A-9207-A653EB98B0DF}" dt="2024-11-19T09:14:13.499" v="4766" actId="47"/>
        <pc:sldMkLst>
          <pc:docMk/>
          <pc:sldMk cId="894068716" sldId="2147475382"/>
        </pc:sldMkLst>
      </pc:sldChg>
      <pc:sldChg chg="add del ord">
        <pc:chgData name="Raphaella ASHRAF" userId="5247841d-d595-4c30-b58a-9906097315c5" providerId="ADAL" clId="{49E1EDC4-949C-4C9A-9207-A653EB98B0DF}" dt="2024-11-19T09:14:13.499" v="4766" actId="47"/>
        <pc:sldMkLst>
          <pc:docMk/>
          <pc:sldMk cId="142941660" sldId="2147475383"/>
        </pc:sldMkLst>
      </pc:sldChg>
      <pc:sldChg chg="add del ord">
        <pc:chgData name="Raphaella ASHRAF" userId="5247841d-d595-4c30-b58a-9906097315c5" providerId="ADAL" clId="{49E1EDC4-949C-4C9A-9207-A653EB98B0DF}" dt="2024-11-19T09:14:13.499" v="4766" actId="47"/>
        <pc:sldMkLst>
          <pc:docMk/>
          <pc:sldMk cId="2592253378" sldId="2147475384"/>
        </pc:sldMkLst>
      </pc:sldChg>
      <pc:sldChg chg="add del ord">
        <pc:chgData name="Raphaella ASHRAF" userId="5247841d-d595-4c30-b58a-9906097315c5" providerId="ADAL" clId="{49E1EDC4-949C-4C9A-9207-A653EB98B0DF}" dt="2024-11-19T09:14:13.499" v="4766" actId="47"/>
        <pc:sldMkLst>
          <pc:docMk/>
          <pc:sldMk cId="583295428" sldId="2147475385"/>
        </pc:sldMkLst>
      </pc:sldChg>
      <pc:sldChg chg="add del ord">
        <pc:chgData name="Raphaella ASHRAF" userId="5247841d-d595-4c30-b58a-9906097315c5" providerId="ADAL" clId="{49E1EDC4-949C-4C9A-9207-A653EB98B0DF}" dt="2024-11-19T09:14:13.499" v="4766" actId="47"/>
        <pc:sldMkLst>
          <pc:docMk/>
          <pc:sldMk cId="2298048121" sldId="2147475386"/>
        </pc:sldMkLst>
      </pc:sldChg>
      <pc:sldChg chg="add del ord">
        <pc:chgData name="Raphaella ASHRAF" userId="5247841d-d595-4c30-b58a-9906097315c5" providerId="ADAL" clId="{49E1EDC4-949C-4C9A-9207-A653EB98B0DF}" dt="2024-11-19T09:14:13.499" v="4766" actId="47"/>
        <pc:sldMkLst>
          <pc:docMk/>
          <pc:sldMk cId="3540885585" sldId="2147475387"/>
        </pc:sldMkLst>
      </pc:sldChg>
      <pc:sldChg chg="add del ord">
        <pc:chgData name="Raphaella ASHRAF" userId="5247841d-d595-4c30-b58a-9906097315c5" providerId="ADAL" clId="{49E1EDC4-949C-4C9A-9207-A653EB98B0DF}" dt="2024-11-19T09:14:13.499" v="4766" actId="47"/>
        <pc:sldMkLst>
          <pc:docMk/>
          <pc:sldMk cId="3813312047" sldId="2147475388"/>
        </pc:sldMkLst>
      </pc:sldChg>
      <pc:sldChg chg="add del ord">
        <pc:chgData name="Raphaella ASHRAF" userId="5247841d-d595-4c30-b58a-9906097315c5" providerId="ADAL" clId="{49E1EDC4-949C-4C9A-9207-A653EB98B0DF}" dt="2024-11-19T09:14:13.499" v="4766" actId="47"/>
        <pc:sldMkLst>
          <pc:docMk/>
          <pc:sldMk cId="2804165761" sldId="2147475389"/>
        </pc:sldMkLst>
      </pc:sldChg>
      <pc:sldChg chg="add del ord">
        <pc:chgData name="Raphaella ASHRAF" userId="5247841d-d595-4c30-b58a-9906097315c5" providerId="ADAL" clId="{49E1EDC4-949C-4C9A-9207-A653EB98B0DF}" dt="2024-11-19T09:14:13.499" v="4766" actId="47"/>
        <pc:sldMkLst>
          <pc:docMk/>
          <pc:sldMk cId="1462799952" sldId="2147475390"/>
        </pc:sldMkLst>
      </pc:sldChg>
      <pc:sldChg chg="add del ord">
        <pc:chgData name="Raphaella ASHRAF" userId="5247841d-d595-4c30-b58a-9906097315c5" providerId="ADAL" clId="{49E1EDC4-949C-4C9A-9207-A653EB98B0DF}" dt="2024-11-19T09:14:13.499" v="4766" actId="47"/>
        <pc:sldMkLst>
          <pc:docMk/>
          <pc:sldMk cId="513217741" sldId="2147475391"/>
        </pc:sldMkLst>
      </pc:sldChg>
      <pc:sldChg chg="add del ord">
        <pc:chgData name="Raphaella ASHRAF" userId="5247841d-d595-4c30-b58a-9906097315c5" providerId="ADAL" clId="{49E1EDC4-949C-4C9A-9207-A653EB98B0DF}" dt="2024-11-19T09:14:13.499" v="4766" actId="47"/>
        <pc:sldMkLst>
          <pc:docMk/>
          <pc:sldMk cId="2454049104" sldId="2147475392"/>
        </pc:sldMkLst>
      </pc:sldChg>
      <pc:sldChg chg="add del ord">
        <pc:chgData name="Raphaella ASHRAF" userId="5247841d-d595-4c30-b58a-9906097315c5" providerId="ADAL" clId="{49E1EDC4-949C-4C9A-9207-A653EB98B0DF}" dt="2024-11-19T09:14:13.499" v="4766" actId="47"/>
        <pc:sldMkLst>
          <pc:docMk/>
          <pc:sldMk cId="694802985" sldId="2147475393"/>
        </pc:sldMkLst>
      </pc:sldChg>
      <pc:sldChg chg="add del ord">
        <pc:chgData name="Raphaella ASHRAF" userId="5247841d-d595-4c30-b58a-9906097315c5" providerId="ADAL" clId="{49E1EDC4-949C-4C9A-9207-A653EB98B0DF}" dt="2024-11-19T09:14:13.499" v="4766" actId="47"/>
        <pc:sldMkLst>
          <pc:docMk/>
          <pc:sldMk cId="3411061149" sldId="2147475394"/>
        </pc:sldMkLst>
      </pc:sldChg>
      <pc:sldChg chg="add del ord">
        <pc:chgData name="Raphaella ASHRAF" userId="5247841d-d595-4c30-b58a-9906097315c5" providerId="ADAL" clId="{49E1EDC4-949C-4C9A-9207-A653EB98B0DF}" dt="2024-11-19T09:14:13.499" v="4766" actId="47"/>
        <pc:sldMkLst>
          <pc:docMk/>
          <pc:sldMk cId="208041768" sldId="2147475395"/>
        </pc:sldMkLst>
      </pc:sldChg>
      <pc:sldChg chg="add del ord">
        <pc:chgData name="Raphaella ASHRAF" userId="5247841d-d595-4c30-b58a-9906097315c5" providerId="ADAL" clId="{49E1EDC4-949C-4C9A-9207-A653EB98B0DF}" dt="2024-11-19T09:14:13.499" v="4766" actId="47"/>
        <pc:sldMkLst>
          <pc:docMk/>
          <pc:sldMk cId="2232734980" sldId="2147475396"/>
        </pc:sldMkLst>
      </pc:sldChg>
      <pc:sldChg chg="add del ord">
        <pc:chgData name="Raphaella ASHRAF" userId="5247841d-d595-4c30-b58a-9906097315c5" providerId="ADAL" clId="{49E1EDC4-949C-4C9A-9207-A653EB98B0DF}" dt="2024-11-19T09:14:13.499" v="4766" actId="47"/>
        <pc:sldMkLst>
          <pc:docMk/>
          <pc:sldMk cId="1233150331" sldId="2147475397"/>
        </pc:sldMkLst>
      </pc:sldChg>
      <pc:sldChg chg="add del ord">
        <pc:chgData name="Raphaella ASHRAF" userId="5247841d-d595-4c30-b58a-9906097315c5" providerId="ADAL" clId="{49E1EDC4-949C-4C9A-9207-A653EB98B0DF}" dt="2024-11-19T09:14:13.499" v="4766" actId="47"/>
        <pc:sldMkLst>
          <pc:docMk/>
          <pc:sldMk cId="3713915651" sldId="2147475398"/>
        </pc:sldMkLst>
      </pc:sldChg>
      <pc:sldChg chg="add del ord">
        <pc:chgData name="Raphaella ASHRAF" userId="5247841d-d595-4c30-b58a-9906097315c5" providerId="ADAL" clId="{49E1EDC4-949C-4C9A-9207-A653EB98B0DF}" dt="2024-11-19T09:14:13.499" v="4766" actId="47"/>
        <pc:sldMkLst>
          <pc:docMk/>
          <pc:sldMk cId="160227867" sldId="2147475399"/>
        </pc:sldMkLst>
      </pc:sldChg>
      <pc:sldChg chg="add del ord">
        <pc:chgData name="Raphaella ASHRAF" userId="5247841d-d595-4c30-b58a-9906097315c5" providerId="ADAL" clId="{49E1EDC4-949C-4C9A-9207-A653EB98B0DF}" dt="2024-11-19T09:14:13.499" v="4766" actId="47"/>
        <pc:sldMkLst>
          <pc:docMk/>
          <pc:sldMk cId="609385776" sldId="2147475400"/>
        </pc:sldMkLst>
      </pc:sldChg>
      <pc:sldChg chg="add del ord">
        <pc:chgData name="Raphaella ASHRAF" userId="5247841d-d595-4c30-b58a-9906097315c5" providerId="ADAL" clId="{49E1EDC4-949C-4C9A-9207-A653EB98B0DF}" dt="2024-11-19T09:14:13.499" v="4766" actId="47"/>
        <pc:sldMkLst>
          <pc:docMk/>
          <pc:sldMk cId="2099356936" sldId="2147475401"/>
        </pc:sldMkLst>
      </pc:sldChg>
      <pc:sldChg chg="add del ord">
        <pc:chgData name="Raphaella ASHRAF" userId="5247841d-d595-4c30-b58a-9906097315c5" providerId="ADAL" clId="{49E1EDC4-949C-4C9A-9207-A653EB98B0DF}" dt="2024-11-19T09:14:13.499" v="4766" actId="47"/>
        <pc:sldMkLst>
          <pc:docMk/>
          <pc:sldMk cId="227522021" sldId="2147475402"/>
        </pc:sldMkLst>
      </pc:sldChg>
      <pc:sldChg chg="add del ord">
        <pc:chgData name="Raphaella ASHRAF" userId="5247841d-d595-4c30-b58a-9906097315c5" providerId="ADAL" clId="{49E1EDC4-949C-4C9A-9207-A653EB98B0DF}" dt="2024-11-19T09:14:13.499" v="4766" actId="47"/>
        <pc:sldMkLst>
          <pc:docMk/>
          <pc:sldMk cId="1455882062" sldId="2147475403"/>
        </pc:sldMkLst>
      </pc:sldChg>
      <pc:sldChg chg="add del ord">
        <pc:chgData name="Raphaella ASHRAF" userId="5247841d-d595-4c30-b58a-9906097315c5" providerId="ADAL" clId="{49E1EDC4-949C-4C9A-9207-A653EB98B0DF}" dt="2024-11-19T09:14:13.499" v="4766" actId="47"/>
        <pc:sldMkLst>
          <pc:docMk/>
          <pc:sldMk cId="2793891947" sldId="2147475404"/>
        </pc:sldMkLst>
      </pc:sldChg>
      <pc:sldChg chg="add del ord">
        <pc:chgData name="Raphaella ASHRAF" userId="5247841d-d595-4c30-b58a-9906097315c5" providerId="ADAL" clId="{49E1EDC4-949C-4C9A-9207-A653EB98B0DF}" dt="2024-11-19T09:14:13.499" v="4766" actId="47"/>
        <pc:sldMkLst>
          <pc:docMk/>
          <pc:sldMk cId="2888517579" sldId="2147475405"/>
        </pc:sldMkLst>
      </pc:sldChg>
      <pc:sldChg chg="add del ord">
        <pc:chgData name="Raphaella ASHRAF" userId="5247841d-d595-4c30-b58a-9906097315c5" providerId="ADAL" clId="{49E1EDC4-949C-4C9A-9207-A653EB98B0DF}" dt="2024-11-19T09:14:13.499" v="4766" actId="47"/>
        <pc:sldMkLst>
          <pc:docMk/>
          <pc:sldMk cId="4115360767" sldId="2147475406"/>
        </pc:sldMkLst>
      </pc:sldChg>
      <pc:sldChg chg="add del ord">
        <pc:chgData name="Raphaella ASHRAF" userId="5247841d-d595-4c30-b58a-9906097315c5" providerId="ADAL" clId="{49E1EDC4-949C-4C9A-9207-A653EB98B0DF}" dt="2024-11-19T09:14:13.499" v="4766" actId="47"/>
        <pc:sldMkLst>
          <pc:docMk/>
          <pc:sldMk cId="4155071826" sldId="2147475407"/>
        </pc:sldMkLst>
      </pc:sldChg>
      <pc:sldChg chg="add del ord">
        <pc:chgData name="Raphaella ASHRAF" userId="5247841d-d595-4c30-b58a-9906097315c5" providerId="ADAL" clId="{49E1EDC4-949C-4C9A-9207-A653EB98B0DF}" dt="2024-11-19T09:14:13.499" v="4766" actId="47"/>
        <pc:sldMkLst>
          <pc:docMk/>
          <pc:sldMk cId="32555659" sldId="2147475408"/>
        </pc:sldMkLst>
      </pc:sldChg>
      <pc:sldChg chg="add del ord">
        <pc:chgData name="Raphaella ASHRAF" userId="5247841d-d595-4c30-b58a-9906097315c5" providerId="ADAL" clId="{49E1EDC4-949C-4C9A-9207-A653EB98B0DF}" dt="2024-11-19T09:14:13.499" v="4766" actId="47"/>
        <pc:sldMkLst>
          <pc:docMk/>
          <pc:sldMk cId="2269541374" sldId="2147475409"/>
        </pc:sldMkLst>
      </pc:sldChg>
      <pc:sldChg chg="add del ord">
        <pc:chgData name="Raphaella ASHRAF" userId="5247841d-d595-4c30-b58a-9906097315c5" providerId="ADAL" clId="{49E1EDC4-949C-4C9A-9207-A653EB98B0DF}" dt="2024-11-19T09:14:13.499" v="4766" actId="47"/>
        <pc:sldMkLst>
          <pc:docMk/>
          <pc:sldMk cId="655555270" sldId="2147475410"/>
        </pc:sldMkLst>
      </pc:sldChg>
      <pc:sldChg chg="add del ord">
        <pc:chgData name="Raphaella ASHRAF" userId="5247841d-d595-4c30-b58a-9906097315c5" providerId="ADAL" clId="{49E1EDC4-949C-4C9A-9207-A653EB98B0DF}" dt="2024-11-19T09:14:13.499" v="4766" actId="47"/>
        <pc:sldMkLst>
          <pc:docMk/>
          <pc:sldMk cId="362420880" sldId="2147475411"/>
        </pc:sldMkLst>
      </pc:sldChg>
      <pc:sldChg chg="add del ord">
        <pc:chgData name="Raphaella ASHRAF" userId="5247841d-d595-4c30-b58a-9906097315c5" providerId="ADAL" clId="{49E1EDC4-949C-4C9A-9207-A653EB98B0DF}" dt="2024-11-19T09:14:13.499" v="4766" actId="47"/>
        <pc:sldMkLst>
          <pc:docMk/>
          <pc:sldMk cId="2204064963" sldId="2147475412"/>
        </pc:sldMkLst>
      </pc:sldChg>
      <pc:sldChg chg="add del ord">
        <pc:chgData name="Raphaella ASHRAF" userId="5247841d-d595-4c30-b58a-9906097315c5" providerId="ADAL" clId="{49E1EDC4-949C-4C9A-9207-A653EB98B0DF}" dt="2024-11-19T09:14:13.499" v="4766" actId="47"/>
        <pc:sldMkLst>
          <pc:docMk/>
          <pc:sldMk cId="1694080387" sldId="2147475413"/>
        </pc:sldMkLst>
      </pc:sldChg>
      <pc:sldChg chg="add del ord">
        <pc:chgData name="Raphaella ASHRAF" userId="5247841d-d595-4c30-b58a-9906097315c5" providerId="ADAL" clId="{49E1EDC4-949C-4C9A-9207-A653EB98B0DF}" dt="2024-11-19T09:14:13.499" v="4766" actId="47"/>
        <pc:sldMkLst>
          <pc:docMk/>
          <pc:sldMk cId="2731397524" sldId="2147475414"/>
        </pc:sldMkLst>
      </pc:sldChg>
      <pc:sldChg chg="add del ord">
        <pc:chgData name="Raphaella ASHRAF" userId="5247841d-d595-4c30-b58a-9906097315c5" providerId="ADAL" clId="{49E1EDC4-949C-4C9A-9207-A653EB98B0DF}" dt="2024-11-19T09:14:13.499" v="4766" actId="47"/>
        <pc:sldMkLst>
          <pc:docMk/>
          <pc:sldMk cId="2614008011" sldId="2147475415"/>
        </pc:sldMkLst>
      </pc:sldChg>
      <pc:sldChg chg="add del ord">
        <pc:chgData name="Raphaella ASHRAF" userId="5247841d-d595-4c30-b58a-9906097315c5" providerId="ADAL" clId="{49E1EDC4-949C-4C9A-9207-A653EB98B0DF}" dt="2024-11-19T09:14:13.499" v="4766" actId="47"/>
        <pc:sldMkLst>
          <pc:docMk/>
          <pc:sldMk cId="2876498965" sldId="2147475416"/>
        </pc:sldMkLst>
      </pc:sldChg>
      <pc:sldChg chg="add del ord">
        <pc:chgData name="Raphaella ASHRAF" userId="5247841d-d595-4c30-b58a-9906097315c5" providerId="ADAL" clId="{49E1EDC4-949C-4C9A-9207-A653EB98B0DF}" dt="2024-11-19T09:14:13.499" v="4766" actId="47"/>
        <pc:sldMkLst>
          <pc:docMk/>
          <pc:sldMk cId="4161965536" sldId="2147475417"/>
        </pc:sldMkLst>
      </pc:sldChg>
      <pc:sldChg chg="add del ord">
        <pc:chgData name="Raphaella ASHRAF" userId="5247841d-d595-4c30-b58a-9906097315c5" providerId="ADAL" clId="{49E1EDC4-949C-4C9A-9207-A653EB98B0DF}" dt="2024-11-19T09:14:13.499" v="4766" actId="47"/>
        <pc:sldMkLst>
          <pc:docMk/>
          <pc:sldMk cId="2350800601" sldId="2147475418"/>
        </pc:sldMkLst>
      </pc:sldChg>
      <pc:sldChg chg="add del ord">
        <pc:chgData name="Raphaella ASHRAF" userId="5247841d-d595-4c30-b58a-9906097315c5" providerId="ADAL" clId="{49E1EDC4-949C-4C9A-9207-A653EB98B0DF}" dt="2024-11-19T09:14:13.499" v="4766" actId="47"/>
        <pc:sldMkLst>
          <pc:docMk/>
          <pc:sldMk cId="1521127469" sldId="2147475419"/>
        </pc:sldMkLst>
      </pc:sldChg>
      <pc:sldChg chg="add del ord">
        <pc:chgData name="Raphaella ASHRAF" userId="5247841d-d595-4c30-b58a-9906097315c5" providerId="ADAL" clId="{49E1EDC4-949C-4C9A-9207-A653EB98B0DF}" dt="2024-11-19T09:14:13.499" v="4766" actId="47"/>
        <pc:sldMkLst>
          <pc:docMk/>
          <pc:sldMk cId="384292176" sldId="2147475420"/>
        </pc:sldMkLst>
      </pc:sldChg>
      <pc:sldChg chg="add del ord">
        <pc:chgData name="Raphaella ASHRAF" userId="5247841d-d595-4c30-b58a-9906097315c5" providerId="ADAL" clId="{49E1EDC4-949C-4C9A-9207-A653EB98B0DF}" dt="2024-11-19T09:14:13.499" v="4766" actId="47"/>
        <pc:sldMkLst>
          <pc:docMk/>
          <pc:sldMk cId="617487781" sldId="2147475421"/>
        </pc:sldMkLst>
      </pc:sldChg>
      <pc:sldChg chg="add del ord">
        <pc:chgData name="Raphaella ASHRAF" userId="5247841d-d595-4c30-b58a-9906097315c5" providerId="ADAL" clId="{49E1EDC4-949C-4C9A-9207-A653EB98B0DF}" dt="2024-11-19T09:14:13.499" v="4766" actId="47"/>
        <pc:sldMkLst>
          <pc:docMk/>
          <pc:sldMk cId="2774903772" sldId="2147475422"/>
        </pc:sldMkLst>
      </pc:sldChg>
      <pc:sldChg chg="add del ord">
        <pc:chgData name="Raphaella ASHRAF" userId="5247841d-d595-4c30-b58a-9906097315c5" providerId="ADAL" clId="{49E1EDC4-949C-4C9A-9207-A653EB98B0DF}" dt="2024-11-19T09:14:13.499" v="4766" actId="47"/>
        <pc:sldMkLst>
          <pc:docMk/>
          <pc:sldMk cId="1809039510" sldId="2147475423"/>
        </pc:sldMkLst>
      </pc:sldChg>
      <pc:sldChg chg="add del ord">
        <pc:chgData name="Raphaella ASHRAF" userId="5247841d-d595-4c30-b58a-9906097315c5" providerId="ADAL" clId="{49E1EDC4-949C-4C9A-9207-A653EB98B0DF}" dt="2024-11-19T09:14:13.499" v="4766" actId="47"/>
        <pc:sldMkLst>
          <pc:docMk/>
          <pc:sldMk cId="4169016212" sldId="2147475424"/>
        </pc:sldMkLst>
      </pc:sldChg>
      <pc:sldChg chg="add del ord">
        <pc:chgData name="Raphaella ASHRAF" userId="5247841d-d595-4c30-b58a-9906097315c5" providerId="ADAL" clId="{49E1EDC4-949C-4C9A-9207-A653EB98B0DF}" dt="2024-11-19T09:14:13.499" v="4766" actId="47"/>
        <pc:sldMkLst>
          <pc:docMk/>
          <pc:sldMk cId="4235154819" sldId="2147475425"/>
        </pc:sldMkLst>
      </pc:sldChg>
      <pc:sldChg chg="add del ord">
        <pc:chgData name="Raphaella ASHRAF" userId="5247841d-d595-4c30-b58a-9906097315c5" providerId="ADAL" clId="{49E1EDC4-949C-4C9A-9207-A653EB98B0DF}" dt="2024-11-19T09:14:13.499" v="4766" actId="47"/>
        <pc:sldMkLst>
          <pc:docMk/>
          <pc:sldMk cId="3530022563" sldId="2147475426"/>
        </pc:sldMkLst>
      </pc:sldChg>
      <pc:sldChg chg="add del ord">
        <pc:chgData name="Raphaella ASHRAF" userId="5247841d-d595-4c30-b58a-9906097315c5" providerId="ADAL" clId="{49E1EDC4-949C-4C9A-9207-A653EB98B0DF}" dt="2024-11-19T09:14:13.499" v="4766" actId="47"/>
        <pc:sldMkLst>
          <pc:docMk/>
          <pc:sldMk cId="2614074523" sldId="2147475427"/>
        </pc:sldMkLst>
      </pc:sldChg>
      <pc:sldChg chg="add del ord">
        <pc:chgData name="Raphaella ASHRAF" userId="5247841d-d595-4c30-b58a-9906097315c5" providerId="ADAL" clId="{49E1EDC4-949C-4C9A-9207-A653EB98B0DF}" dt="2024-11-19T09:14:13.499" v="4766" actId="47"/>
        <pc:sldMkLst>
          <pc:docMk/>
          <pc:sldMk cId="3804809403" sldId="2147475428"/>
        </pc:sldMkLst>
      </pc:sldChg>
      <pc:sldChg chg="add del ord">
        <pc:chgData name="Raphaella ASHRAF" userId="5247841d-d595-4c30-b58a-9906097315c5" providerId="ADAL" clId="{49E1EDC4-949C-4C9A-9207-A653EB98B0DF}" dt="2024-11-19T09:14:13.499" v="4766" actId="47"/>
        <pc:sldMkLst>
          <pc:docMk/>
          <pc:sldMk cId="566885865" sldId="2147475429"/>
        </pc:sldMkLst>
      </pc:sldChg>
      <pc:sldChg chg="add del ord">
        <pc:chgData name="Raphaella ASHRAF" userId="5247841d-d595-4c30-b58a-9906097315c5" providerId="ADAL" clId="{49E1EDC4-949C-4C9A-9207-A653EB98B0DF}" dt="2024-11-19T09:14:13.499" v="4766" actId="47"/>
        <pc:sldMkLst>
          <pc:docMk/>
          <pc:sldMk cId="3400173089" sldId="2147475430"/>
        </pc:sldMkLst>
      </pc:sldChg>
      <pc:sldChg chg="add del ord">
        <pc:chgData name="Raphaella ASHRAF" userId="5247841d-d595-4c30-b58a-9906097315c5" providerId="ADAL" clId="{49E1EDC4-949C-4C9A-9207-A653EB98B0DF}" dt="2024-11-19T09:14:13.499" v="4766" actId="47"/>
        <pc:sldMkLst>
          <pc:docMk/>
          <pc:sldMk cId="2689930787" sldId="2147475431"/>
        </pc:sldMkLst>
      </pc:sldChg>
      <pc:sldChg chg="add del ord">
        <pc:chgData name="Raphaella ASHRAF" userId="5247841d-d595-4c30-b58a-9906097315c5" providerId="ADAL" clId="{49E1EDC4-949C-4C9A-9207-A653EB98B0DF}" dt="2024-11-19T09:14:13.499" v="4766" actId="47"/>
        <pc:sldMkLst>
          <pc:docMk/>
          <pc:sldMk cId="1120930988" sldId="2147475432"/>
        </pc:sldMkLst>
      </pc:sldChg>
      <pc:sldChg chg="add del ord">
        <pc:chgData name="Raphaella ASHRAF" userId="5247841d-d595-4c30-b58a-9906097315c5" providerId="ADAL" clId="{49E1EDC4-949C-4C9A-9207-A653EB98B0DF}" dt="2024-11-19T09:14:13.499" v="4766" actId="47"/>
        <pc:sldMkLst>
          <pc:docMk/>
          <pc:sldMk cId="119900403" sldId="2147475433"/>
        </pc:sldMkLst>
      </pc:sldChg>
      <pc:sldChg chg="add del ord">
        <pc:chgData name="Raphaella ASHRAF" userId="5247841d-d595-4c30-b58a-9906097315c5" providerId="ADAL" clId="{49E1EDC4-949C-4C9A-9207-A653EB98B0DF}" dt="2024-11-19T09:14:13.499" v="4766" actId="47"/>
        <pc:sldMkLst>
          <pc:docMk/>
          <pc:sldMk cId="1421007293" sldId="2147475434"/>
        </pc:sldMkLst>
      </pc:sldChg>
      <pc:sldChg chg="add del ord">
        <pc:chgData name="Raphaella ASHRAF" userId="5247841d-d595-4c30-b58a-9906097315c5" providerId="ADAL" clId="{49E1EDC4-949C-4C9A-9207-A653EB98B0DF}" dt="2024-11-19T09:14:13.499" v="4766" actId="47"/>
        <pc:sldMkLst>
          <pc:docMk/>
          <pc:sldMk cId="1541589265" sldId="2147475435"/>
        </pc:sldMkLst>
      </pc:sldChg>
      <pc:sldChg chg="add del ord">
        <pc:chgData name="Raphaella ASHRAF" userId="5247841d-d595-4c30-b58a-9906097315c5" providerId="ADAL" clId="{49E1EDC4-949C-4C9A-9207-A653EB98B0DF}" dt="2024-11-19T09:14:13.499" v="4766" actId="47"/>
        <pc:sldMkLst>
          <pc:docMk/>
          <pc:sldMk cId="1285614180" sldId="2147475436"/>
        </pc:sldMkLst>
      </pc:sldChg>
      <pc:sldChg chg="add del ord">
        <pc:chgData name="Raphaella ASHRAF" userId="5247841d-d595-4c30-b58a-9906097315c5" providerId="ADAL" clId="{49E1EDC4-949C-4C9A-9207-A653EB98B0DF}" dt="2024-11-19T09:14:13.499" v="4766" actId="47"/>
        <pc:sldMkLst>
          <pc:docMk/>
          <pc:sldMk cId="4274037779" sldId="2147475437"/>
        </pc:sldMkLst>
      </pc:sldChg>
      <pc:sldChg chg="add del ord">
        <pc:chgData name="Raphaella ASHRAF" userId="5247841d-d595-4c30-b58a-9906097315c5" providerId="ADAL" clId="{49E1EDC4-949C-4C9A-9207-A653EB98B0DF}" dt="2024-11-19T09:14:13.499" v="4766" actId="47"/>
        <pc:sldMkLst>
          <pc:docMk/>
          <pc:sldMk cId="1488400991" sldId="2147475438"/>
        </pc:sldMkLst>
      </pc:sldChg>
      <pc:sldChg chg="add del ord">
        <pc:chgData name="Raphaella ASHRAF" userId="5247841d-d595-4c30-b58a-9906097315c5" providerId="ADAL" clId="{49E1EDC4-949C-4C9A-9207-A653EB98B0DF}" dt="2024-11-19T09:14:13.499" v="4766" actId="47"/>
        <pc:sldMkLst>
          <pc:docMk/>
          <pc:sldMk cId="1268837820" sldId="2147475439"/>
        </pc:sldMkLst>
      </pc:sldChg>
      <pc:sldChg chg="add del ord">
        <pc:chgData name="Raphaella ASHRAF" userId="5247841d-d595-4c30-b58a-9906097315c5" providerId="ADAL" clId="{49E1EDC4-949C-4C9A-9207-A653EB98B0DF}" dt="2024-11-19T09:14:13.499" v="4766" actId="47"/>
        <pc:sldMkLst>
          <pc:docMk/>
          <pc:sldMk cId="462595298" sldId="2147475440"/>
        </pc:sldMkLst>
      </pc:sldChg>
      <pc:sldChg chg="add del ord">
        <pc:chgData name="Raphaella ASHRAF" userId="5247841d-d595-4c30-b58a-9906097315c5" providerId="ADAL" clId="{49E1EDC4-949C-4C9A-9207-A653EB98B0DF}" dt="2024-11-19T09:14:13.499" v="4766" actId="47"/>
        <pc:sldMkLst>
          <pc:docMk/>
          <pc:sldMk cId="832883075" sldId="2147475441"/>
        </pc:sldMkLst>
      </pc:sldChg>
      <pc:sldChg chg="add del ord">
        <pc:chgData name="Raphaella ASHRAF" userId="5247841d-d595-4c30-b58a-9906097315c5" providerId="ADAL" clId="{49E1EDC4-949C-4C9A-9207-A653EB98B0DF}" dt="2024-11-19T09:14:13.499" v="4766" actId="47"/>
        <pc:sldMkLst>
          <pc:docMk/>
          <pc:sldMk cId="3116891508" sldId="2147475442"/>
        </pc:sldMkLst>
      </pc:sldChg>
      <pc:sldChg chg="add del ord">
        <pc:chgData name="Raphaella ASHRAF" userId="5247841d-d595-4c30-b58a-9906097315c5" providerId="ADAL" clId="{49E1EDC4-949C-4C9A-9207-A653EB98B0DF}" dt="2024-11-19T09:14:13.499" v="4766" actId="47"/>
        <pc:sldMkLst>
          <pc:docMk/>
          <pc:sldMk cId="2849790798" sldId="2147475443"/>
        </pc:sldMkLst>
      </pc:sldChg>
      <pc:sldChg chg="add del ord">
        <pc:chgData name="Raphaella ASHRAF" userId="5247841d-d595-4c30-b58a-9906097315c5" providerId="ADAL" clId="{49E1EDC4-949C-4C9A-9207-A653EB98B0DF}" dt="2024-11-19T09:14:13.499" v="4766" actId="47"/>
        <pc:sldMkLst>
          <pc:docMk/>
          <pc:sldMk cId="3561207839" sldId="2147475444"/>
        </pc:sldMkLst>
      </pc:sldChg>
      <pc:sldChg chg="add del ord">
        <pc:chgData name="Raphaella ASHRAF" userId="5247841d-d595-4c30-b58a-9906097315c5" providerId="ADAL" clId="{49E1EDC4-949C-4C9A-9207-A653EB98B0DF}" dt="2024-11-19T09:14:13.499" v="4766" actId="47"/>
        <pc:sldMkLst>
          <pc:docMk/>
          <pc:sldMk cId="487993053" sldId="2147475445"/>
        </pc:sldMkLst>
      </pc:sldChg>
      <pc:sldChg chg="add del ord">
        <pc:chgData name="Raphaella ASHRAF" userId="5247841d-d595-4c30-b58a-9906097315c5" providerId="ADAL" clId="{49E1EDC4-949C-4C9A-9207-A653EB98B0DF}" dt="2024-11-19T09:14:13.499" v="4766" actId="47"/>
        <pc:sldMkLst>
          <pc:docMk/>
          <pc:sldMk cId="2222281238" sldId="2147475446"/>
        </pc:sldMkLst>
      </pc:sldChg>
      <pc:sldChg chg="add del ord">
        <pc:chgData name="Raphaella ASHRAF" userId="5247841d-d595-4c30-b58a-9906097315c5" providerId="ADAL" clId="{49E1EDC4-949C-4C9A-9207-A653EB98B0DF}" dt="2024-11-19T09:14:13.499" v="4766" actId="47"/>
        <pc:sldMkLst>
          <pc:docMk/>
          <pc:sldMk cId="2439319849" sldId="2147475447"/>
        </pc:sldMkLst>
      </pc:sldChg>
      <pc:sldChg chg="add del ord">
        <pc:chgData name="Raphaella ASHRAF" userId="5247841d-d595-4c30-b58a-9906097315c5" providerId="ADAL" clId="{49E1EDC4-949C-4C9A-9207-A653EB98B0DF}" dt="2024-11-19T09:14:13.499" v="4766" actId="47"/>
        <pc:sldMkLst>
          <pc:docMk/>
          <pc:sldMk cId="3215077118" sldId="2147475448"/>
        </pc:sldMkLst>
      </pc:sldChg>
      <pc:sldChg chg="add del ord">
        <pc:chgData name="Raphaella ASHRAF" userId="5247841d-d595-4c30-b58a-9906097315c5" providerId="ADAL" clId="{49E1EDC4-949C-4C9A-9207-A653EB98B0DF}" dt="2024-11-19T09:14:13.499" v="4766" actId="47"/>
        <pc:sldMkLst>
          <pc:docMk/>
          <pc:sldMk cId="3950930722" sldId="2147475449"/>
        </pc:sldMkLst>
      </pc:sldChg>
      <pc:sldChg chg="add del ord">
        <pc:chgData name="Raphaella ASHRAF" userId="5247841d-d595-4c30-b58a-9906097315c5" providerId="ADAL" clId="{49E1EDC4-949C-4C9A-9207-A653EB98B0DF}" dt="2024-11-19T09:14:13.499" v="4766" actId="47"/>
        <pc:sldMkLst>
          <pc:docMk/>
          <pc:sldMk cId="3941112113" sldId="2147475450"/>
        </pc:sldMkLst>
      </pc:sldChg>
      <pc:sldChg chg="add del ord">
        <pc:chgData name="Raphaella ASHRAF" userId="5247841d-d595-4c30-b58a-9906097315c5" providerId="ADAL" clId="{49E1EDC4-949C-4C9A-9207-A653EB98B0DF}" dt="2024-11-19T09:14:13.499" v="4766" actId="47"/>
        <pc:sldMkLst>
          <pc:docMk/>
          <pc:sldMk cId="2824458011" sldId="2147475451"/>
        </pc:sldMkLst>
      </pc:sldChg>
      <pc:sldChg chg="add del ord">
        <pc:chgData name="Raphaella ASHRAF" userId="5247841d-d595-4c30-b58a-9906097315c5" providerId="ADAL" clId="{49E1EDC4-949C-4C9A-9207-A653EB98B0DF}" dt="2024-11-19T09:14:13.499" v="4766" actId="47"/>
        <pc:sldMkLst>
          <pc:docMk/>
          <pc:sldMk cId="1279470412" sldId="2147475452"/>
        </pc:sldMkLst>
      </pc:sldChg>
      <pc:sldChg chg="add del ord">
        <pc:chgData name="Raphaella ASHRAF" userId="5247841d-d595-4c30-b58a-9906097315c5" providerId="ADAL" clId="{49E1EDC4-949C-4C9A-9207-A653EB98B0DF}" dt="2024-11-19T09:14:13.499" v="4766" actId="47"/>
        <pc:sldMkLst>
          <pc:docMk/>
          <pc:sldMk cId="2387443564" sldId="2147475453"/>
        </pc:sldMkLst>
      </pc:sldChg>
      <pc:sldChg chg="add del ord">
        <pc:chgData name="Raphaella ASHRAF" userId="5247841d-d595-4c30-b58a-9906097315c5" providerId="ADAL" clId="{49E1EDC4-949C-4C9A-9207-A653EB98B0DF}" dt="2024-11-19T09:14:13.499" v="4766" actId="47"/>
        <pc:sldMkLst>
          <pc:docMk/>
          <pc:sldMk cId="3893707664" sldId="2147475454"/>
        </pc:sldMkLst>
      </pc:sldChg>
      <pc:sldChg chg="add del ord">
        <pc:chgData name="Raphaella ASHRAF" userId="5247841d-d595-4c30-b58a-9906097315c5" providerId="ADAL" clId="{49E1EDC4-949C-4C9A-9207-A653EB98B0DF}" dt="2024-11-19T09:14:13.499" v="4766" actId="47"/>
        <pc:sldMkLst>
          <pc:docMk/>
          <pc:sldMk cId="1832487609" sldId="2147475455"/>
        </pc:sldMkLst>
      </pc:sldChg>
      <pc:sldChg chg="add del ord">
        <pc:chgData name="Raphaella ASHRAF" userId="5247841d-d595-4c30-b58a-9906097315c5" providerId="ADAL" clId="{49E1EDC4-949C-4C9A-9207-A653EB98B0DF}" dt="2024-11-19T09:14:13.499" v="4766" actId="47"/>
        <pc:sldMkLst>
          <pc:docMk/>
          <pc:sldMk cId="1541808981" sldId="2147475456"/>
        </pc:sldMkLst>
      </pc:sldChg>
      <pc:sldChg chg="add del ord">
        <pc:chgData name="Raphaella ASHRAF" userId="5247841d-d595-4c30-b58a-9906097315c5" providerId="ADAL" clId="{49E1EDC4-949C-4C9A-9207-A653EB98B0DF}" dt="2024-11-19T09:14:13.499" v="4766" actId="47"/>
        <pc:sldMkLst>
          <pc:docMk/>
          <pc:sldMk cId="2521346895" sldId="2147475457"/>
        </pc:sldMkLst>
      </pc:sldChg>
      <pc:sldChg chg="add del ord">
        <pc:chgData name="Raphaella ASHRAF" userId="5247841d-d595-4c30-b58a-9906097315c5" providerId="ADAL" clId="{49E1EDC4-949C-4C9A-9207-A653EB98B0DF}" dt="2024-11-19T09:14:13.499" v="4766" actId="47"/>
        <pc:sldMkLst>
          <pc:docMk/>
          <pc:sldMk cId="1289762951" sldId="2147475458"/>
        </pc:sldMkLst>
      </pc:sldChg>
      <pc:sldChg chg="add del ord">
        <pc:chgData name="Raphaella ASHRAF" userId="5247841d-d595-4c30-b58a-9906097315c5" providerId="ADAL" clId="{49E1EDC4-949C-4C9A-9207-A653EB98B0DF}" dt="2024-11-19T09:14:13.499" v="4766" actId="47"/>
        <pc:sldMkLst>
          <pc:docMk/>
          <pc:sldMk cId="3789121369" sldId="2147475459"/>
        </pc:sldMkLst>
      </pc:sldChg>
      <pc:sldChg chg="add del ord">
        <pc:chgData name="Raphaella ASHRAF" userId="5247841d-d595-4c30-b58a-9906097315c5" providerId="ADAL" clId="{49E1EDC4-949C-4C9A-9207-A653EB98B0DF}" dt="2024-11-19T09:14:13.499" v="4766" actId="47"/>
        <pc:sldMkLst>
          <pc:docMk/>
          <pc:sldMk cId="359925321" sldId="2147475460"/>
        </pc:sldMkLst>
      </pc:sldChg>
      <pc:sldChg chg="add del ord">
        <pc:chgData name="Raphaella ASHRAF" userId="5247841d-d595-4c30-b58a-9906097315c5" providerId="ADAL" clId="{49E1EDC4-949C-4C9A-9207-A653EB98B0DF}" dt="2024-11-19T09:14:13.499" v="4766" actId="47"/>
        <pc:sldMkLst>
          <pc:docMk/>
          <pc:sldMk cId="695359516" sldId="2147475461"/>
        </pc:sldMkLst>
      </pc:sldChg>
      <pc:sldChg chg="add del ord">
        <pc:chgData name="Raphaella ASHRAF" userId="5247841d-d595-4c30-b58a-9906097315c5" providerId="ADAL" clId="{49E1EDC4-949C-4C9A-9207-A653EB98B0DF}" dt="2024-11-19T09:14:13.499" v="4766" actId="47"/>
        <pc:sldMkLst>
          <pc:docMk/>
          <pc:sldMk cId="3086410035" sldId="2147475462"/>
        </pc:sldMkLst>
      </pc:sldChg>
      <pc:sldChg chg="add del ord">
        <pc:chgData name="Raphaella ASHRAF" userId="5247841d-d595-4c30-b58a-9906097315c5" providerId="ADAL" clId="{49E1EDC4-949C-4C9A-9207-A653EB98B0DF}" dt="2024-11-19T09:14:13.499" v="4766" actId="47"/>
        <pc:sldMkLst>
          <pc:docMk/>
          <pc:sldMk cId="1135091706" sldId="2147475463"/>
        </pc:sldMkLst>
      </pc:sldChg>
      <pc:sldChg chg="add del ord">
        <pc:chgData name="Raphaella ASHRAF" userId="5247841d-d595-4c30-b58a-9906097315c5" providerId="ADAL" clId="{49E1EDC4-949C-4C9A-9207-A653EB98B0DF}" dt="2024-11-19T09:14:13.499" v="4766" actId="47"/>
        <pc:sldMkLst>
          <pc:docMk/>
          <pc:sldMk cId="1093193065" sldId="2147475464"/>
        </pc:sldMkLst>
      </pc:sldChg>
      <pc:sldChg chg="add del ord">
        <pc:chgData name="Raphaella ASHRAF" userId="5247841d-d595-4c30-b58a-9906097315c5" providerId="ADAL" clId="{49E1EDC4-949C-4C9A-9207-A653EB98B0DF}" dt="2024-11-19T09:14:13.499" v="4766" actId="47"/>
        <pc:sldMkLst>
          <pc:docMk/>
          <pc:sldMk cId="3981602982" sldId="2147475465"/>
        </pc:sldMkLst>
      </pc:sldChg>
      <pc:sldChg chg="add del ord">
        <pc:chgData name="Raphaella ASHRAF" userId="5247841d-d595-4c30-b58a-9906097315c5" providerId="ADAL" clId="{49E1EDC4-949C-4C9A-9207-A653EB98B0DF}" dt="2024-11-19T09:14:13.499" v="4766" actId="47"/>
        <pc:sldMkLst>
          <pc:docMk/>
          <pc:sldMk cId="1813214312" sldId="2147475466"/>
        </pc:sldMkLst>
      </pc:sldChg>
      <pc:sldChg chg="add del ord">
        <pc:chgData name="Raphaella ASHRAF" userId="5247841d-d595-4c30-b58a-9906097315c5" providerId="ADAL" clId="{49E1EDC4-949C-4C9A-9207-A653EB98B0DF}" dt="2024-11-19T09:14:13.499" v="4766" actId="47"/>
        <pc:sldMkLst>
          <pc:docMk/>
          <pc:sldMk cId="3314372851" sldId="2147475467"/>
        </pc:sldMkLst>
      </pc:sldChg>
      <pc:sldChg chg="add del ord">
        <pc:chgData name="Raphaella ASHRAF" userId="5247841d-d595-4c30-b58a-9906097315c5" providerId="ADAL" clId="{49E1EDC4-949C-4C9A-9207-A653EB98B0DF}" dt="2024-11-19T09:14:13.499" v="4766" actId="47"/>
        <pc:sldMkLst>
          <pc:docMk/>
          <pc:sldMk cId="1526033461" sldId="2147475468"/>
        </pc:sldMkLst>
      </pc:sldChg>
      <pc:sldChg chg="add del ord">
        <pc:chgData name="Raphaella ASHRAF" userId="5247841d-d595-4c30-b58a-9906097315c5" providerId="ADAL" clId="{49E1EDC4-949C-4C9A-9207-A653EB98B0DF}" dt="2024-11-19T09:14:13.499" v="4766" actId="47"/>
        <pc:sldMkLst>
          <pc:docMk/>
          <pc:sldMk cId="2887123766" sldId="2147475469"/>
        </pc:sldMkLst>
      </pc:sldChg>
      <pc:sldChg chg="add del ord">
        <pc:chgData name="Raphaella ASHRAF" userId="5247841d-d595-4c30-b58a-9906097315c5" providerId="ADAL" clId="{49E1EDC4-949C-4C9A-9207-A653EB98B0DF}" dt="2024-11-19T09:14:13.499" v="4766" actId="47"/>
        <pc:sldMkLst>
          <pc:docMk/>
          <pc:sldMk cId="1435636999" sldId="2147475470"/>
        </pc:sldMkLst>
      </pc:sldChg>
      <pc:sldChg chg="add del ord">
        <pc:chgData name="Raphaella ASHRAF" userId="5247841d-d595-4c30-b58a-9906097315c5" providerId="ADAL" clId="{49E1EDC4-949C-4C9A-9207-A653EB98B0DF}" dt="2024-11-19T09:14:13.499" v="4766" actId="47"/>
        <pc:sldMkLst>
          <pc:docMk/>
          <pc:sldMk cId="127894837" sldId="2147475471"/>
        </pc:sldMkLst>
      </pc:sldChg>
      <pc:sldChg chg="add del ord">
        <pc:chgData name="Raphaella ASHRAF" userId="5247841d-d595-4c30-b58a-9906097315c5" providerId="ADAL" clId="{49E1EDC4-949C-4C9A-9207-A653EB98B0DF}" dt="2024-11-19T09:14:13.499" v="4766" actId="47"/>
        <pc:sldMkLst>
          <pc:docMk/>
          <pc:sldMk cId="2814749179" sldId="2147475472"/>
        </pc:sldMkLst>
      </pc:sldChg>
      <pc:sldChg chg="add del ord">
        <pc:chgData name="Raphaella ASHRAF" userId="5247841d-d595-4c30-b58a-9906097315c5" providerId="ADAL" clId="{49E1EDC4-949C-4C9A-9207-A653EB98B0DF}" dt="2024-11-19T09:14:13.499" v="4766" actId="47"/>
        <pc:sldMkLst>
          <pc:docMk/>
          <pc:sldMk cId="1536004900" sldId="2147475473"/>
        </pc:sldMkLst>
      </pc:sldChg>
      <pc:sldChg chg="add del ord">
        <pc:chgData name="Raphaella ASHRAF" userId="5247841d-d595-4c30-b58a-9906097315c5" providerId="ADAL" clId="{49E1EDC4-949C-4C9A-9207-A653EB98B0DF}" dt="2024-11-19T09:14:13.499" v="4766" actId="47"/>
        <pc:sldMkLst>
          <pc:docMk/>
          <pc:sldMk cId="3958967741" sldId="2147475474"/>
        </pc:sldMkLst>
      </pc:sldChg>
      <pc:sldChg chg="add del ord">
        <pc:chgData name="Raphaella ASHRAF" userId="5247841d-d595-4c30-b58a-9906097315c5" providerId="ADAL" clId="{49E1EDC4-949C-4C9A-9207-A653EB98B0DF}" dt="2024-11-19T09:14:13.499" v="4766" actId="47"/>
        <pc:sldMkLst>
          <pc:docMk/>
          <pc:sldMk cId="770548277" sldId="2147475475"/>
        </pc:sldMkLst>
      </pc:sldChg>
      <pc:sldChg chg="add del ord">
        <pc:chgData name="Raphaella ASHRAF" userId="5247841d-d595-4c30-b58a-9906097315c5" providerId="ADAL" clId="{49E1EDC4-949C-4C9A-9207-A653EB98B0DF}" dt="2024-11-19T09:14:13.499" v="4766" actId="47"/>
        <pc:sldMkLst>
          <pc:docMk/>
          <pc:sldMk cId="464416541" sldId="2147475476"/>
        </pc:sldMkLst>
      </pc:sldChg>
      <pc:sldChg chg="add del ord">
        <pc:chgData name="Raphaella ASHRAF" userId="5247841d-d595-4c30-b58a-9906097315c5" providerId="ADAL" clId="{49E1EDC4-949C-4C9A-9207-A653EB98B0DF}" dt="2024-11-19T09:14:13.499" v="4766" actId="47"/>
        <pc:sldMkLst>
          <pc:docMk/>
          <pc:sldMk cId="3351871576" sldId="2147475477"/>
        </pc:sldMkLst>
      </pc:sldChg>
      <pc:sldChg chg="add del ord">
        <pc:chgData name="Raphaella ASHRAF" userId="5247841d-d595-4c30-b58a-9906097315c5" providerId="ADAL" clId="{49E1EDC4-949C-4C9A-9207-A653EB98B0DF}" dt="2024-11-19T09:14:13.499" v="4766" actId="47"/>
        <pc:sldMkLst>
          <pc:docMk/>
          <pc:sldMk cId="3760329860" sldId="2147475478"/>
        </pc:sldMkLst>
      </pc:sldChg>
      <pc:sldChg chg="add del ord">
        <pc:chgData name="Raphaella ASHRAF" userId="5247841d-d595-4c30-b58a-9906097315c5" providerId="ADAL" clId="{49E1EDC4-949C-4C9A-9207-A653EB98B0DF}" dt="2024-11-19T09:14:13.499" v="4766" actId="47"/>
        <pc:sldMkLst>
          <pc:docMk/>
          <pc:sldMk cId="1524731920" sldId="2147475479"/>
        </pc:sldMkLst>
      </pc:sldChg>
      <pc:sldChg chg="add del ord">
        <pc:chgData name="Raphaella ASHRAF" userId="5247841d-d595-4c30-b58a-9906097315c5" providerId="ADAL" clId="{49E1EDC4-949C-4C9A-9207-A653EB98B0DF}" dt="2024-11-19T09:14:13.499" v="4766" actId="47"/>
        <pc:sldMkLst>
          <pc:docMk/>
          <pc:sldMk cId="1227676065" sldId="2147475480"/>
        </pc:sldMkLst>
      </pc:sldChg>
      <pc:sldChg chg="add del ord">
        <pc:chgData name="Raphaella ASHRAF" userId="5247841d-d595-4c30-b58a-9906097315c5" providerId="ADAL" clId="{49E1EDC4-949C-4C9A-9207-A653EB98B0DF}" dt="2024-11-19T09:14:13.499" v="4766" actId="47"/>
        <pc:sldMkLst>
          <pc:docMk/>
          <pc:sldMk cId="911980021" sldId="2147475481"/>
        </pc:sldMkLst>
      </pc:sldChg>
      <pc:sldChg chg="add del ord">
        <pc:chgData name="Raphaella ASHRAF" userId="5247841d-d595-4c30-b58a-9906097315c5" providerId="ADAL" clId="{49E1EDC4-949C-4C9A-9207-A653EB98B0DF}" dt="2024-11-19T09:14:13.499" v="4766" actId="47"/>
        <pc:sldMkLst>
          <pc:docMk/>
          <pc:sldMk cId="2851235609" sldId="2147475482"/>
        </pc:sldMkLst>
      </pc:sldChg>
      <pc:sldChg chg="add del ord">
        <pc:chgData name="Raphaella ASHRAF" userId="5247841d-d595-4c30-b58a-9906097315c5" providerId="ADAL" clId="{49E1EDC4-949C-4C9A-9207-A653EB98B0DF}" dt="2024-11-19T09:14:13.499" v="4766" actId="47"/>
        <pc:sldMkLst>
          <pc:docMk/>
          <pc:sldMk cId="1980412226" sldId="2147475483"/>
        </pc:sldMkLst>
      </pc:sldChg>
      <pc:sldChg chg="add del ord">
        <pc:chgData name="Raphaella ASHRAF" userId="5247841d-d595-4c30-b58a-9906097315c5" providerId="ADAL" clId="{49E1EDC4-949C-4C9A-9207-A653EB98B0DF}" dt="2024-11-19T09:14:13.499" v="4766" actId="47"/>
        <pc:sldMkLst>
          <pc:docMk/>
          <pc:sldMk cId="1691168811" sldId="2147475484"/>
        </pc:sldMkLst>
      </pc:sldChg>
      <pc:sldChg chg="add del ord">
        <pc:chgData name="Raphaella ASHRAF" userId="5247841d-d595-4c30-b58a-9906097315c5" providerId="ADAL" clId="{49E1EDC4-949C-4C9A-9207-A653EB98B0DF}" dt="2024-11-19T09:14:13.499" v="4766" actId="47"/>
        <pc:sldMkLst>
          <pc:docMk/>
          <pc:sldMk cId="3626917579" sldId="2147475485"/>
        </pc:sldMkLst>
      </pc:sldChg>
      <pc:sldChg chg="add del ord">
        <pc:chgData name="Raphaella ASHRAF" userId="5247841d-d595-4c30-b58a-9906097315c5" providerId="ADAL" clId="{49E1EDC4-949C-4C9A-9207-A653EB98B0DF}" dt="2024-11-19T09:14:13.499" v="4766" actId="47"/>
        <pc:sldMkLst>
          <pc:docMk/>
          <pc:sldMk cId="154171329" sldId="2147475486"/>
        </pc:sldMkLst>
      </pc:sldChg>
      <pc:sldChg chg="add del ord">
        <pc:chgData name="Raphaella ASHRAF" userId="5247841d-d595-4c30-b58a-9906097315c5" providerId="ADAL" clId="{49E1EDC4-949C-4C9A-9207-A653EB98B0DF}" dt="2024-11-19T09:14:13.499" v="4766" actId="47"/>
        <pc:sldMkLst>
          <pc:docMk/>
          <pc:sldMk cId="1711131946" sldId="2147475487"/>
        </pc:sldMkLst>
      </pc:sldChg>
      <pc:sldChg chg="add del ord">
        <pc:chgData name="Raphaella ASHRAF" userId="5247841d-d595-4c30-b58a-9906097315c5" providerId="ADAL" clId="{49E1EDC4-949C-4C9A-9207-A653EB98B0DF}" dt="2024-11-19T09:14:13.499" v="4766" actId="47"/>
        <pc:sldMkLst>
          <pc:docMk/>
          <pc:sldMk cId="4118752154" sldId="2147475488"/>
        </pc:sldMkLst>
      </pc:sldChg>
      <pc:sldChg chg="add del ord">
        <pc:chgData name="Raphaella ASHRAF" userId="5247841d-d595-4c30-b58a-9906097315c5" providerId="ADAL" clId="{49E1EDC4-949C-4C9A-9207-A653EB98B0DF}" dt="2024-11-19T09:14:13.499" v="4766" actId="47"/>
        <pc:sldMkLst>
          <pc:docMk/>
          <pc:sldMk cId="1732189719" sldId="2147475489"/>
        </pc:sldMkLst>
      </pc:sldChg>
      <pc:sldChg chg="add del ord">
        <pc:chgData name="Raphaella ASHRAF" userId="5247841d-d595-4c30-b58a-9906097315c5" providerId="ADAL" clId="{49E1EDC4-949C-4C9A-9207-A653EB98B0DF}" dt="2024-11-19T09:14:13.499" v="4766" actId="47"/>
        <pc:sldMkLst>
          <pc:docMk/>
          <pc:sldMk cId="2330373495" sldId="2147475490"/>
        </pc:sldMkLst>
      </pc:sldChg>
      <pc:sldChg chg="add del ord">
        <pc:chgData name="Raphaella ASHRAF" userId="5247841d-d595-4c30-b58a-9906097315c5" providerId="ADAL" clId="{49E1EDC4-949C-4C9A-9207-A653EB98B0DF}" dt="2024-11-19T09:14:13.499" v="4766" actId="47"/>
        <pc:sldMkLst>
          <pc:docMk/>
          <pc:sldMk cId="2068638935" sldId="2147475491"/>
        </pc:sldMkLst>
      </pc:sldChg>
      <pc:sldChg chg="add del ord">
        <pc:chgData name="Raphaella ASHRAF" userId="5247841d-d595-4c30-b58a-9906097315c5" providerId="ADAL" clId="{49E1EDC4-949C-4C9A-9207-A653EB98B0DF}" dt="2024-11-19T09:14:13.499" v="4766" actId="47"/>
        <pc:sldMkLst>
          <pc:docMk/>
          <pc:sldMk cId="2070723707" sldId="2147475492"/>
        </pc:sldMkLst>
      </pc:sldChg>
      <pc:sldChg chg="add del ord">
        <pc:chgData name="Raphaella ASHRAF" userId="5247841d-d595-4c30-b58a-9906097315c5" providerId="ADAL" clId="{49E1EDC4-949C-4C9A-9207-A653EB98B0DF}" dt="2024-11-19T09:14:13.499" v="4766" actId="47"/>
        <pc:sldMkLst>
          <pc:docMk/>
          <pc:sldMk cId="229949296" sldId="2147475493"/>
        </pc:sldMkLst>
      </pc:sldChg>
      <pc:sldChg chg="add del ord">
        <pc:chgData name="Raphaella ASHRAF" userId="5247841d-d595-4c30-b58a-9906097315c5" providerId="ADAL" clId="{49E1EDC4-949C-4C9A-9207-A653EB98B0DF}" dt="2024-11-19T09:14:13.499" v="4766" actId="47"/>
        <pc:sldMkLst>
          <pc:docMk/>
          <pc:sldMk cId="1375937016" sldId="2147475494"/>
        </pc:sldMkLst>
      </pc:sldChg>
      <pc:sldChg chg="add del ord">
        <pc:chgData name="Raphaella ASHRAF" userId="5247841d-d595-4c30-b58a-9906097315c5" providerId="ADAL" clId="{49E1EDC4-949C-4C9A-9207-A653EB98B0DF}" dt="2024-11-19T09:14:13.499" v="4766" actId="47"/>
        <pc:sldMkLst>
          <pc:docMk/>
          <pc:sldMk cId="2744795003" sldId="2147475495"/>
        </pc:sldMkLst>
      </pc:sldChg>
      <pc:sldChg chg="add del ord">
        <pc:chgData name="Raphaella ASHRAF" userId="5247841d-d595-4c30-b58a-9906097315c5" providerId="ADAL" clId="{49E1EDC4-949C-4C9A-9207-A653EB98B0DF}" dt="2024-11-19T09:14:13.499" v="4766" actId="47"/>
        <pc:sldMkLst>
          <pc:docMk/>
          <pc:sldMk cId="1605462473" sldId="2147475496"/>
        </pc:sldMkLst>
      </pc:sldChg>
      <pc:sldChg chg="add del ord">
        <pc:chgData name="Raphaella ASHRAF" userId="5247841d-d595-4c30-b58a-9906097315c5" providerId="ADAL" clId="{49E1EDC4-949C-4C9A-9207-A653EB98B0DF}" dt="2024-11-19T09:14:13.499" v="4766" actId="47"/>
        <pc:sldMkLst>
          <pc:docMk/>
          <pc:sldMk cId="685625675" sldId="2147475497"/>
        </pc:sldMkLst>
      </pc:sldChg>
      <pc:sldChg chg="add del ord">
        <pc:chgData name="Raphaella ASHRAF" userId="5247841d-d595-4c30-b58a-9906097315c5" providerId="ADAL" clId="{49E1EDC4-949C-4C9A-9207-A653EB98B0DF}" dt="2024-11-19T09:14:13.499" v="4766" actId="47"/>
        <pc:sldMkLst>
          <pc:docMk/>
          <pc:sldMk cId="3689458505" sldId="2147475498"/>
        </pc:sldMkLst>
      </pc:sldChg>
      <pc:sldChg chg="add del ord">
        <pc:chgData name="Raphaella ASHRAF" userId="5247841d-d595-4c30-b58a-9906097315c5" providerId="ADAL" clId="{49E1EDC4-949C-4C9A-9207-A653EB98B0DF}" dt="2024-11-19T09:14:13.499" v="4766" actId="47"/>
        <pc:sldMkLst>
          <pc:docMk/>
          <pc:sldMk cId="995565646" sldId="2147475499"/>
        </pc:sldMkLst>
      </pc:sldChg>
      <pc:sldChg chg="add del ord">
        <pc:chgData name="Raphaella ASHRAF" userId="5247841d-d595-4c30-b58a-9906097315c5" providerId="ADAL" clId="{49E1EDC4-949C-4C9A-9207-A653EB98B0DF}" dt="2024-11-19T09:14:13.499" v="4766" actId="47"/>
        <pc:sldMkLst>
          <pc:docMk/>
          <pc:sldMk cId="1442255361" sldId="2147475500"/>
        </pc:sldMkLst>
      </pc:sldChg>
      <pc:sldChg chg="add del ord">
        <pc:chgData name="Raphaella ASHRAF" userId="5247841d-d595-4c30-b58a-9906097315c5" providerId="ADAL" clId="{49E1EDC4-949C-4C9A-9207-A653EB98B0DF}" dt="2024-11-19T09:14:13.499" v="4766" actId="47"/>
        <pc:sldMkLst>
          <pc:docMk/>
          <pc:sldMk cId="1643312565" sldId="2147475501"/>
        </pc:sldMkLst>
      </pc:sldChg>
      <pc:sldChg chg="add del ord">
        <pc:chgData name="Raphaella ASHRAF" userId="5247841d-d595-4c30-b58a-9906097315c5" providerId="ADAL" clId="{49E1EDC4-949C-4C9A-9207-A653EB98B0DF}" dt="2024-11-19T09:14:13.499" v="4766" actId="47"/>
        <pc:sldMkLst>
          <pc:docMk/>
          <pc:sldMk cId="212027576" sldId="2147475502"/>
        </pc:sldMkLst>
      </pc:sldChg>
      <pc:sldChg chg="add del ord">
        <pc:chgData name="Raphaella ASHRAF" userId="5247841d-d595-4c30-b58a-9906097315c5" providerId="ADAL" clId="{49E1EDC4-949C-4C9A-9207-A653EB98B0DF}" dt="2024-11-19T09:14:13.499" v="4766" actId="47"/>
        <pc:sldMkLst>
          <pc:docMk/>
          <pc:sldMk cId="1475104640" sldId="2147475503"/>
        </pc:sldMkLst>
      </pc:sldChg>
      <pc:sldChg chg="add del ord">
        <pc:chgData name="Raphaella ASHRAF" userId="5247841d-d595-4c30-b58a-9906097315c5" providerId="ADAL" clId="{49E1EDC4-949C-4C9A-9207-A653EB98B0DF}" dt="2024-11-19T09:14:13.499" v="4766" actId="47"/>
        <pc:sldMkLst>
          <pc:docMk/>
          <pc:sldMk cId="732978366" sldId="2147475504"/>
        </pc:sldMkLst>
      </pc:sldChg>
      <pc:sldChg chg="add del ord">
        <pc:chgData name="Raphaella ASHRAF" userId="5247841d-d595-4c30-b58a-9906097315c5" providerId="ADAL" clId="{49E1EDC4-949C-4C9A-9207-A653EB98B0DF}" dt="2024-11-19T09:14:13.499" v="4766" actId="47"/>
        <pc:sldMkLst>
          <pc:docMk/>
          <pc:sldMk cId="2401049087" sldId="2147475505"/>
        </pc:sldMkLst>
      </pc:sldChg>
      <pc:sldChg chg="add del ord">
        <pc:chgData name="Raphaella ASHRAF" userId="5247841d-d595-4c30-b58a-9906097315c5" providerId="ADAL" clId="{49E1EDC4-949C-4C9A-9207-A653EB98B0DF}" dt="2024-11-19T09:14:13.499" v="4766" actId="47"/>
        <pc:sldMkLst>
          <pc:docMk/>
          <pc:sldMk cId="1289286200" sldId="2147475506"/>
        </pc:sldMkLst>
      </pc:sldChg>
      <pc:sldChg chg="add del ord">
        <pc:chgData name="Raphaella ASHRAF" userId="5247841d-d595-4c30-b58a-9906097315c5" providerId="ADAL" clId="{49E1EDC4-949C-4C9A-9207-A653EB98B0DF}" dt="2024-11-19T09:14:13.499" v="4766" actId="47"/>
        <pc:sldMkLst>
          <pc:docMk/>
          <pc:sldMk cId="340377706" sldId="2147475507"/>
        </pc:sldMkLst>
      </pc:sldChg>
      <pc:sldChg chg="add del ord">
        <pc:chgData name="Raphaella ASHRAF" userId="5247841d-d595-4c30-b58a-9906097315c5" providerId="ADAL" clId="{49E1EDC4-949C-4C9A-9207-A653EB98B0DF}" dt="2024-11-19T09:14:13.499" v="4766" actId="47"/>
        <pc:sldMkLst>
          <pc:docMk/>
          <pc:sldMk cId="2031302453" sldId="2147475508"/>
        </pc:sldMkLst>
      </pc:sldChg>
      <pc:sldChg chg="add del ord">
        <pc:chgData name="Raphaella ASHRAF" userId="5247841d-d595-4c30-b58a-9906097315c5" providerId="ADAL" clId="{49E1EDC4-949C-4C9A-9207-A653EB98B0DF}" dt="2024-11-19T09:14:13.499" v="4766" actId="47"/>
        <pc:sldMkLst>
          <pc:docMk/>
          <pc:sldMk cId="1984347859" sldId="2147475509"/>
        </pc:sldMkLst>
      </pc:sldChg>
      <pc:sldChg chg="add del ord">
        <pc:chgData name="Raphaella ASHRAF" userId="5247841d-d595-4c30-b58a-9906097315c5" providerId="ADAL" clId="{49E1EDC4-949C-4C9A-9207-A653EB98B0DF}" dt="2024-11-19T09:14:13.499" v="4766" actId="47"/>
        <pc:sldMkLst>
          <pc:docMk/>
          <pc:sldMk cId="126797967" sldId="2147475510"/>
        </pc:sldMkLst>
      </pc:sldChg>
      <pc:sldChg chg="add del ord">
        <pc:chgData name="Raphaella ASHRAF" userId="5247841d-d595-4c30-b58a-9906097315c5" providerId="ADAL" clId="{49E1EDC4-949C-4C9A-9207-A653EB98B0DF}" dt="2024-11-19T09:14:13.499" v="4766" actId="47"/>
        <pc:sldMkLst>
          <pc:docMk/>
          <pc:sldMk cId="2775798574" sldId="2147475511"/>
        </pc:sldMkLst>
      </pc:sldChg>
      <pc:sldChg chg="add del ord">
        <pc:chgData name="Raphaella ASHRAF" userId="5247841d-d595-4c30-b58a-9906097315c5" providerId="ADAL" clId="{49E1EDC4-949C-4C9A-9207-A653EB98B0DF}" dt="2024-11-19T09:14:13.499" v="4766" actId="47"/>
        <pc:sldMkLst>
          <pc:docMk/>
          <pc:sldMk cId="367409254" sldId="2147475512"/>
        </pc:sldMkLst>
      </pc:sldChg>
      <pc:sldChg chg="add del ord">
        <pc:chgData name="Raphaella ASHRAF" userId="5247841d-d595-4c30-b58a-9906097315c5" providerId="ADAL" clId="{49E1EDC4-949C-4C9A-9207-A653EB98B0DF}" dt="2024-11-19T09:14:13.499" v="4766" actId="47"/>
        <pc:sldMkLst>
          <pc:docMk/>
          <pc:sldMk cId="1189573590" sldId="2147475513"/>
        </pc:sldMkLst>
      </pc:sldChg>
      <pc:sldChg chg="add del ord">
        <pc:chgData name="Raphaella ASHRAF" userId="5247841d-d595-4c30-b58a-9906097315c5" providerId="ADAL" clId="{49E1EDC4-949C-4C9A-9207-A653EB98B0DF}" dt="2024-11-19T09:14:13.499" v="4766" actId="47"/>
        <pc:sldMkLst>
          <pc:docMk/>
          <pc:sldMk cId="4127867937" sldId="2147475514"/>
        </pc:sldMkLst>
      </pc:sldChg>
      <pc:sldChg chg="add del ord">
        <pc:chgData name="Raphaella ASHRAF" userId="5247841d-d595-4c30-b58a-9906097315c5" providerId="ADAL" clId="{49E1EDC4-949C-4C9A-9207-A653EB98B0DF}" dt="2024-11-19T09:14:13.499" v="4766" actId="47"/>
        <pc:sldMkLst>
          <pc:docMk/>
          <pc:sldMk cId="615595651" sldId="2147475515"/>
        </pc:sldMkLst>
      </pc:sldChg>
      <pc:sldChg chg="add del ord">
        <pc:chgData name="Raphaella ASHRAF" userId="5247841d-d595-4c30-b58a-9906097315c5" providerId="ADAL" clId="{49E1EDC4-949C-4C9A-9207-A653EB98B0DF}" dt="2024-11-19T09:14:13.499" v="4766" actId="47"/>
        <pc:sldMkLst>
          <pc:docMk/>
          <pc:sldMk cId="579562462" sldId="2147475516"/>
        </pc:sldMkLst>
      </pc:sldChg>
      <pc:sldChg chg="add del ord">
        <pc:chgData name="Raphaella ASHRAF" userId="5247841d-d595-4c30-b58a-9906097315c5" providerId="ADAL" clId="{49E1EDC4-949C-4C9A-9207-A653EB98B0DF}" dt="2024-11-19T09:14:13.499" v="4766" actId="47"/>
        <pc:sldMkLst>
          <pc:docMk/>
          <pc:sldMk cId="2229513999" sldId="2147475517"/>
        </pc:sldMkLst>
      </pc:sldChg>
      <pc:sldChg chg="add del ord">
        <pc:chgData name="Raphaella ASHRAF" userId="5247841d-d595-4c30-b58a-9906097315c5" providerId="ADAL" clId="{49E1EDC4-949C-4C9A-9207-A653EB98B0DF}" dt="2024-11-19T09:14:13.499" v="4766" actId="47"/>
        <pc:sldMkLst>
          <pc:docMk/>
          <pc:sldMk cId="2399695369" sldId="2147475518"/>
        </pc:sldMkLst>
      </pc:sldChg>
      <pc:sldChg chg="add del ord">
        <pc:chgData name="Raphaella ASHRAF" userId="5247841d-d595-4c30-b58a-9906097315c5" providerId="ADAL" clId="{49E1EDC4-949C-4C9A-9207-A653EB98B0DF}" dt="2024-11-19T09:14:13.499" v="4766" actId="47"/>
        <pc:sldMkLst>
          <pc:docMk/>
          <pc:sldMk cId="457133711" sldId="2147475519"/>
        </pc:sldMkLst>
      </pc:sldChg>
      <pc:sldChg chg="add del ord">
        <pc:chgData name="Raphaella ASHRAF" userId="5247841d-d595-4c30-b58a-9906097315c5" providerId="ADAL" clId="{49E1EDC4-949C-4C9A-9207-A653EB98B0DF}" dt="2024-11-19T09:14:13.499" v="4766" actId="47"/>
        <pc:sldMkLst>
          <pc:docMk/>
          <pc:sldMk cId="2085027823" sldId="2147475520"/>
        </pc:sldMkLst>
      </pc:sldChg>
      <pc:sldChg chg="add del ord">
        <pc:chgData name="Raphaella ASHRAF" userId="5247841d-d595-4c30-b58a-9906097315c5" providerId="ADAL" clId="{49E1EDC4-949C-4C9A-9207-A653EB98B0DF}" dt="2024-11-19T09:14:13.499" v="4766" actId="47"/>
        <pc:sldMkLst>
          <pc:docMk/>
          <pc:sldMk cId="2106963363" sldId="2147475521"/>
        </pc:sldMkLst>
      </pc:sldChg>
      <pc:sldChg chg="add del ord">
        <pc:chgData name="Raphaella ASHRAF" userId="5247841d-d595-4c30-b58a-9906097315c5" providerId="ADAL" clId="{49E1EDC4-949C-4C9A-9207-A653EB98B0DF}" dt="2024-11-19T09:14:13.499" v="4766" actId="47"/>
        <pc:sldMkLst>
          <pc:docMk/>
          <pc:sldMk cId="1646739577" sldId="2147475522"/>
        </pc:sldMkLst>
      </pc:sldChg>
      <pc:sldChg chg="add del ord">
        <pc:chgData name="Raphaella ASHRAF" userId="5247841d-d595-4c30-b58a-9906097315c5" providerId="ADAL" clId="{49E1EDC4-949C-4C9A-9207-A653EB98B0DF}" dt="2024-11-19T09:14:13.499" v="4766" actId="47"/>
        <pc:sldMkLst>
          <pc:docMk/>
          <pc:sldMk cId="348262993" sldId="2147475523"/>
        </pc:sldMkLst>
      </pc:sldChg>
      <pc:sldChg chg="add del ord">
        <pc:chgData name="Raphaella ASHRAF" userId="5247841d-d595-4c30-b58a-9906097315c5" providerId="ADAL" clId="{49E1EDC4-949C-4C9A-9207-A653EB98B0DF}" dt="2024-11-19T09:14:13.499" v="4766" actId="47"/>
        <pc:sldMkLst>
          <pc:docMk/>
          <pc:sldMk cId="1983935068" sldId="2147475524"/>
        </pc:sldMkLst>
      </pc:sldChg>
      <pc:sldChg chg="add del ord">
        <pc:chgData name="Raphaella ASHRAF" userId="5247841d-d595-4c30-b58a-9906097315c5" providerId="ADAL" clId="{49E1EDC4-949C-4C9A-9207-A653EB98B0DF}" dt="2024-11-19T09:14:13.499" v="4766" actId="47"/>
        <pc:sldMkLst>
          <pc:docMk/>
          <pc:sldMk cId="385464984" sldId="2147475525"/>
        </pc:sldMkLst>
      </pc:sldChg>
      <pc:sldChg chg="add del ord">
        <pc:chgData name="Raphaella ASHRAF" userId="5247841d-d595-4c30-b58a-9906097315c5" providerId="ADAL" clId="{49E1EDC4-949C-4C9A-9207-A653EB98B0DF}" dt="2024-11-19T09:14:13.499" v="4766" actId="47"/>
        <pc:sldMkLst>
          <pc:docMk/>
          <pc:sldMk cId="884816042" sldId="2147475526"/>
        </pc:sldMkLst>
      </pc:sldChg>
      <pc:sldChg chg="add del ord">
        <pc:chgData name="Raphaella ASHRAF" userId="5247841d-d595-4c30-b58a-9906097315c5" providerId="ADAL" clId="{49E1EDC4-949C-4C9A-9207-A653EB98B0DF}" dt="2024-11-19T09:14:13.499" v="4766" actId="47"/>
        <pc:sldMkLst>
          <pc:docMk/>
          <pc:sldMk cId="2156501761" sldId="2147475527"/>
        </pc:sldMkLst>
      </pc:sldChg>
      <pc:sldChg chg="add del ord">
        <pc:chgData name="Raphaella ASHRAF" userId="5247841d-d595-4c30-b58a-9906097315c5" providerId="ADAL" clId="{49E1EDC4-949C-4C9A-9207-A653EB98B0DF}" dt="2024-11-19T09:14:13.499" v="4766" actId="47"/>
        <pc:sldMkLst>
          <pc:docMk/>
          <pc:sldMk cId="3302947368" sldId="2147475528"/>
        </pc:sldMkLst>
      </pc:sldChg>
      <pc:sldChg chg="add del ord">
        <pc:chgData name="Raphaella ASHRAF" userId="5247841d-d595-4c30-b58a-9906097315c5" providerId="ADAL" clId="{49E1EDC4-949C-4C9A-9207-A653EB98B0DF}" dt="2024-11-19T09:14:13.499" v="4766" actId="47"/>
        <pc:sldMkLst>
          <pc:docMk/>
          <pc:sldMk cId="648350604" sldId="2147475529"/>
        </pc:sldMkLst>
      </pc:sldChg>
      <pc:sldChg chg="add del ord">
        <pc:chgData name="Raphaella ASHRAF" userId="5247841d-d595-4c30-b58a-9906097315c5" providerId="ADAL" clId="{49E1EDC4-949C-4C9A-9207-A653EB98B0DF}" dt="2024-11-19T09:14:13.499" v="4766" actId="47"/>
        <pc:sldMkLst>
          <pc:docMk/>
          <pc:sldMk cId="2096672332" sldId="2147475530"/>
        </pc:sldMkLst>
      </pc:sldChg>
      <pc:sldChg chg="add del ord">
        <pc:chgData name="Raphaella ASHRAF" userId="5247841d-d595-4c30-b58a-9906097315c5" providerId="ADAL" clId="{49E1EDC4-949C-4C9A-9207-A653EB98B0DF}" dt="2024-11-19T09:14:13.499" v="4766" actId="47"/>
        <pc:sldMkLst>
          <pc:docMk/>
          <pc:sldMk cId="2338383966" sldId="2147475531"/>
        </pc:sldMkLst>
      </pc:sldChg>
      <pc:sldChg chg="add del ord">
        <pc:chgData name="Raphaella ASHRAF" userId="5247841d-d595-4c30-b58a-9906097315c5" providerId="ADAL" clId="{49E1EDC4-949C-4C9A-9207-A653EB98B0DF}" dt="2024-11-19T09:14:13.499" v="4766" actId="47"/>
        <pc:sldMkLst>
          <pc:docMk/>
          <pc:sldMk cId="1675990272" sldId="2147475532"/>
        </pc:sldMkLst>
      </pc:sldChg>
      <pc:sldChg chg="add del ord">
        <pc:chgData name="Raphaella ASHRAF" userId="5247841d-d595-4c30-b58a-9906097315c5" providerId="ADAL" clId="{49E1EDC4-949C-4C9A-9207-A653EB98B0DF}" dt="2024-11-19T09:14:13.499" v="4766" actId="47"/>
        <pc:sldMkLst>
          <pc:docMk/>
          <pc:sldMk cId="713335837" sldId="2147475533"/>
        </pc:sldMkLst>
      </pc:sldChg>
      <pc:sldChg chg="add del ord">
        <pc:chgData name="Raphaella ASHRAF" userId="5247841d-d595-4c30-b58a-9906097315c5" providerId="ADAL" clId="{49E1EDC4-949C-4C9A-9207-A653EB98B0DF}" dt="2024-11-19T09:14:13.499" v="4766" actId="47"/>
        <pc:sldMkLst>
          <pc:docMk/>
          <pc:sldMk cId="4139982407" sldId="2147475534"/>
        </pc:sldMkLst>
      </pc:sldChg>
      <pc:sldChg chg="add del ord">
        <pc:chgData name="Raphaella ASHRAF" userId="5247841d-d595-4c30-b58a-9906097315c5" providerId="ADAL" clId="{49E1EDC4-949C-4C9A-9207-A653EB98B0DF}" dt="2024-11-19T09:14:13.499" v="4766" actId="47"/>
        <pc:sldMkLst>
          <pc:docMk/>
          <pc:sldMk cId="2366736763" sldId="2147475535"/>
        </pc:sldMkLst>
      </pc:sldChg>
      <pc:sldChg chg="add del ord">
        <pc:chgData name="Raphaella ASHRAF" userId="5247841d-d595-4c30-b58a-9906097315c5" providerId="ADAL" clId="{49E1EDC4-949C-4C9A-9207-A653EB98B0DF}" dt="2024-11-19T09:14:13.499" v="4766" actId="47"/>
        <pc:sldMkLst>
          <pc:docMk/>
          <pc:sldMk cId="2405755204" sldId="2147475536"/>
        </pc:sldMkLst>
      </pc:sldChg>
      <pc:sldChg chg="add del ord">
        <pc:chgData name="Raphaella ASHRAF" userId="5247841d-d595-4c30-b58a-9906097315c5" providerId="ADAL" clId="{49E1EDC4-949C-4C9A-9207-A653EB98B0DF}" dt="2024-11-19T09:14:13.499" v="4766" actId="47"/>
        <pc:sldMkLst>
          <pc:docMk/>
          <pc:sldMk cId="2877973087" sldId="2147475537"/>
        </pc:sldMkLst>
      </pc:sldChg>
      <pc:sldChg chg="add del ord">
        <pc:chgData name="Raphaella ASHRAF" userId="5247841d-d595-4c30-b58a-9906097315c5" providerId="ADAL" clId="{49E1EDC4-949C-4C9A-9207-A653EB98B0DF}" dt="2024-11-19T09:14:13.499" v="4766" actId="47"/>
        <pc:sldMkLst>
          <pc:docMk/>
          <pc:sldMk cId="1589318213" sldId="2147475538"/>
        </pc:sldMkLst>
      </pc:sldChg>
      <pc:sldChg chg="add del ord">
        <pc:chgData name="Raphaella ASHRAF" userId="5247841d-d595-4c30-b58a-9906097315c5" providerId="ADAL" clId="{49E1EDC4-949C-4C9A-9207-A653EB98B0DF}" dt="2024-11-19T09:14:13.499" v="4766" actId="47"/>
        <pc:sldMkLst>
          <pc:docMk/>
          <pc:sldMk cId="3643290445" sldId="2147475539"/>
        </pc:sldMkLst>
      </pc:sldChg>
      <pc:sldChg chg="add del ord">
        <pc:chgData name="Raphaella ASHRAF" userId="5247841d-d595-4c30-b58a-9906097315c5" providerId="ADAL" clId="{49E1EDC4-949C-4C9A-9207-A653EB98B0DF}" dt="2024-11-19T09:14:13.499" v="4766" actId="47"/>
        <pc:sldMkLst>
          <pc:docMk/>
          <pc:sldMk cId="1718438116" sldId="2147475540"/>
        </pc:sldMkLst>
      </pc:sldChg>
      <pc:sldChg chg="add del ord">
        <pc:chgData name="Raphaella ASHRAF" userId="5247841d-d595-4c30-b58a-9906097315c5" providerId="ADAL" clId="{49E1EDC4-949C-4C9A-9207-A653EB98B0DF}" dt="2024-11-19T09:14:13.499" v="4766" actId="47"/>
        <pc:sldMkLst>
          <pc:docMk/>
          <pc:sldMk cId="316223124" sldId="2147475541"/>
        </pc:sldMkLst>
      </pc:sldChg>
      <pc:sldChg chg="add del ord">
        <pc:chgData name="Raphaella ASHRAF" userId="5247841d-d595-4c30-b58a-9906097315c5" providerId="ADAL" clId="{49E1EDC4-949C-4C9A-9207-A653EB98B0DF}" dt="2024-11-19T09:14:13.499" v="4766" actId="47"/>
        <pc:sldMkLst>
          <pc:docMk/>
          <pc:sldMk cId="4230963917" sldId="2147475542"/>
        </pc:sldMkLst>
      </pc:sldChg>
      <pc:sldChg chg="add del ord">
        <pc:chgData name="Raphaella ASHRAF" userId="5247841d-d595-4c30-b58a-9906097315c5" providerId="ADAL" clId="{49E1EDC4-949C-4C9A-9207-A653EB98B0DF}" dt="2024-11-19T09:14:13.499" v="4766" actId="47"/>
        <pc:sldMkLst>
          <pc:docMk/>
          <pc:sldMk cId="988708041" sldId="2147475543"/>
        </pc:sldMkLst>
      </pc:sldChg>
      <pc:sldChg chg="add del ord">
        <pc:chgData name="Raphaella ASHRAF" userId="5247841d-d595-4c30-b58a-9906097315c5" providerId="ADAL" clId="{49E1EDC4-949C-4C9A-9207-A653EB98B0DF}" dt="2024-11-19T09:14:13.499" v="4766" actId="47"/>
        <pc:sldMkLst>
          <pc:docMk/>
          <pc:sldMk cId="220242414" sldId="2147475544"/>
        </pc:sldMkLst>
      </pc:sldChg>
      <pc:sldChg chg="add del ord">
        <pc:chgData name="Raphaella ASHRAF" userId="5247841d-d595-4c30-b58a-9906097315c5" providerId="ADAL" clId="{49E1EDC4-949C-4C9A-9207-A653EB98B0DF}" dt="2024-11-19T09:14:13.499" v="4766" actId="47"/>
        <pc:sldMkLst>
          <pc:docMk/>
          <pc:sldMk cId="113739685" sldId="2147475545"/>
        </pc:sldMkLst>
      </pc:sldChg>
      <pc:sldChg chg="add del ord">
        <pc:chgData name="Raphaella ASHRAF" userId="5247841d-d595-4c30-b58a-9906097315c5" providerId="ADAL" clId="{49E1EDC4-949C-4C9A-9207-A653EB98B0DF}" dt="2024-11-19T09:14:13.499" v="4766" actId="47"/>
        <pc:sldMkLst>
          <pc:docMk/>
          <pc:sldMk cId="1254909300" sldId="2147475546"/>
        </pc:sldMkLst>
      </pc:sldChg>
      <pc:sldChg chg="add del ord">
        <pc:chgData name="Raphaella ASHRAF" userId="5247841d-d595-4c30-b58a-9906097315c5" providerId="ADAL" clId="{49E1EDC4-949C-4C9A-9207-A653EB98B0DF}" dt="2024-11-19T09:14:13.499" v="4766" actId="47"/>
        <pc:sldMkLst>
          <pc:docMk/>
          <pc:sldMk cId="126730427" sldId="2147475547"/>
        </pc:sldMkLst>
      </pc:sldChg>
      <pc:sldChg chg="add del ord">
        <pc:chgData name="Raphaella ASHRAF" userId="5247841d-d595-4c30-b58a-9906097315c5" providerId="ADAL" clId="{49E1EDC4-949C-4C9A-9207-A653EB98B0DF}" dt="2024-11-19T09:14:13.499" v="4766" actId="47"/>
        <pc:sldMkLst>
          <pc:docMk/>
          <pc:sldMk cId="1519044980" sldId="2147475548"/>
        </pc:sldMkLst>
      </pc:sldChg>
      <pc:sldChg chg="add del ord">
        <pc:chgData name="Raphaella ASHRAF" userId="5247841d-d595-4c30-b58a-9906097315c5" providerId="ADAL" clId="{49E1EDC4-949C-4C9A-9207-A653EB98B0DF}" dt="2024-11-19T09:14:13.499" v="4766" actId="47"/>
        <pc:sldMkLst>
          <pc:docMk/>
          <pc:sldMk cId="3710309122" sldId="2147475549"/>
        </pc:sldMkLst>
      </pc:sldChg>
      <pc:sldChg chg="add del ord">
        <pc:chgData name="Raphaella ASHRAF" userId="5247841d-d595-4c30-b58a-9906097315c5" providerId="ADAL" clId="{49E1EDC4-949C-4C9A-9207-A653EB98B0DF}" dt="2024-11-19T09:14:13.499" v="4766" actId="47"/>
        <pc:sldMkLst>
          <pc:docMk/>
          <pc:sldMk cId="959786456" sldId="2147475550"/>
        </pc:sldMkLst>
      </pc:sldChg>
      <pc:sldChg chg="add del ord">
        <pc:chgData name="Raphaella ASHRAF" userId="5247841d-d595-4c30-b58a-9906097315c5" providerId="ADAL" clId="{49E1EDC4-949C-4C9A-9207-A653EB98B0DF}" dt="2024-11-19T09:14:13.499" v="4766" actId="47"/>
        <pc:sldMkLst>
          <pc:docMk/>
          <pc:sldMk cId="2549919212" sldId="2147475551"/>
        </pc:sldMkLst>
      </pc:sldChg>
      <pc:sldChg chg="add del ord">
        <pc:chgData name="Raphaella ASHRAF" userId="5247841d-d595-4c30-b58a-9906097315c5" providerId="ADAL" clId="{49E1EDC4-949C-4C9A-9207-A653EB98B0DF}" dt="2024-11-19T09:14:13.499" v="4766" actId="47"/>
        <pc:sldMkLst>
          <pc:docMk/>
          <pc:sldMk cId="300722215" sldId="2147475552"/>
        </pc:sldMkLst>
      </pc:sldChg>
      <pc:sldChg chg="add del ord">
        <pc:chgData name="Raphaella ASHRAF" userId="5247841d-d595-4c30-b58a-9906097315c5" providerId="ADAL" clId="{49E1EDC4-949C-4C9A-9207-A653EB98B0DF}" dt="2024-11-19T09:14:13.499" v="4766" actId="47"/>
        <pc:sldMkLst>
          <pc:docMk/>
          <pc:sldMk cId="48235286" sldId="2147475553"/>
        </pc:sldMkLst>
      </pc:sldChg>
      <pc:sldChg chg="add del ord">
        <pc:chgData name="Raphaella ASHRAF" userId="5247841d-d595-4c30-b58a-9906097315c5" providerId="ADAL" clId="{49E1EDC4-949C-4C9A-9207-A653EB98B0DF}" dt="2024-11-19T09:14:13.499" v="4766" actId="47"/>
        <pc:sldMkLst>
          <pc:docMk/>
          <pc:sldMk cId="115456340" sldId="2147475554"/>
        </pc:sldMkLst>
      </pc:sldChg>
      <pc:sldChg chg="add del ord">
        <pc:chgData name="Raphaella ASHRAF" userId="5247841d-d595-4c30-b58a-9906097315c5" providerId="ADAL" clId="{49E1EDC4-949C-4C9A-9207-A653EB98B0DF}" dt="2024-11-19T09:14:13.499" v="4766" actId="47"/>
        <pc:sldMkLst>
          <pc:docMk/>
          <pc:sldMk cId="1729340316" sldId="2147475555"/>
        </pc:sldMkLst>
      </pc:sldChg>
      <pc:sldChg chg="add del ord">
        <pc:chgData name="Raphaella ASHRAF" userId="5247841d-d595-4c30-b58a-9906097315c5" providerId="ADAL" clId="{49E1EDC4-949C-4C9A-9207-A653EB98B0DF}" dt="2024-11-19T09:14:13.499" v="4766" actId="47"/>
        <pc:sldMkLst>
          <pc:docMk/>
          <pc:sldMk cId="3788089881" sldId="2147475556"/>
        </pc:sldMkLst>
      </pc:sldChg>
      <pc:sldChg chg="add del ord">
        <pc:chgData name="Raphaella ASHRAF" userId="5247841d-d595-4c30-b58a-9906097315c5" providerId="ADAL" clId="{49E1EDC4-949C-4C9A-9207-A653EB98B0DF}" dt="2024-11-19T09:14:13.499" v="4766" actId="47"/>
        <pc:sldMkLst>
          <pc:docMk/>
          <pc:sldMk cId="4183563321" sldId="2147475557"/>
        </pc:sldMkLst>
      </pc:sldChg>
      <pc:sldChg chg="add del ord">
        <pc:chgData name="Raphaella ASHRAF" userId="5247841d-d595-4c30-b58a-9906097315c5" providerId="ADAL" clId="{49E1EDC4-949C-4C9A-9207-A653EB98B0DF}" dt="2024-11-19T09:14:13.499" v="4766" actId="47"/>
        <pc:sldMkLst>
          <pc:docMk/>
          <pc:sldMk cId="3925766763" sldId="2147475558"/>
        </pc:sldMkLst>
      </pc:sldChg>
      <pc:sldChg chg="add del ord">
        <pc:chgData name="Raphaella ASHRAF" userId="5247841d-d595-4c30-b58a-9906097315c5" providerId="ADAL" clId="{49E1EDC4-949C-4C9A-9207-A653EB98B0DF}" dt="2024-11-19T09:14:13.499" v="4766" actId="47"/>
        <pc:sldMkLst>
          <pc:docMk/>
          <pc:sldMk cId="520960992" sldId="2147475559"/>
        </pc:sldMkLst>
      </pc:sldChg>
      <pc:sldChg chg="add del ord">
        <pc:chgData name="Raphaella ASHRAF" userId="5247841d-d595-4c30-b58a-9906097315c5" providerId="ADAL" clId="{49E1EDC4-949C-4C9A-9207-A653EB98B0DF}" dt="2024-11-19T09:14:13.499" v="4766" actId="47"/>
        <pc:sldMkLst>
          <pc:docMk/>
          <pc:sldMk cId="1327187697" sldId="2147475560"/>
        </pc:sldMkLst>
      </pc:sldChg>
      <pc:sldChg chg="add del ord">
        <pc:chgData name="Raphaella ASHRAF" userId="5247841d-d595-4c30-b58a-9906097315c5" providerId="ADAL" clId="{49E1EDC4-949C-4C9A-9207-A653EB98B0DF}" dt="2024-11-19T09:14:13.499" v="4766" actId="47"/>
        <pc:sldMkLst>
          <pc:docMk/>
          <pc:sldMk cId="2675396034" sldId="2147475561"/>
        </pc:sldMkLst>
      </pc:sldChg>
      <pc:sldChg chg="add del ord">
        <pc:chgData name="Raphaella ASHRAF" userId="5247841d-d595-4c30-b58a-9906097315c5" providerId="ADAL" clId="{49E1EDC4-949C-4C9A-9207-A653EB98B0DF}" dt="2024-11-19T09:14:13.499" v="4766" actId="47"/>
        <pc:sldMkLst>
          <pc:docMk/>
          <pc:sldMk cId="1346869030" sldId="2147475562"/>
        </pc:sldMkLst>
      </pc:sldChg>
      <pc:sldChg chg="add del ord">
        <pc:chgData name="Raphaella ASHRAF" userId="5247841d-d595-4c30-b58a-9906097315c5" providerId="ADAL" clId="{49E1EDC4-949C-4C9A-9207-A653EB98B0DF}" dt="2024-11-19T09:14:13.499" v="4766" actId="47"/>
        <pc:sldMkLst>
          <pc:docMk/>
          <pc:sldMk cId="4008925274" sldId="2147475563"/>
        </pc:sldMkLst>
      </pc:sldChg>
      <pc:sldChg chg="add del ord">
        <pc:chgData name="Raphaella ASHRAF" userId="5247841d-d595-4c30-b58a-9906097315c5" providerId="ADAL" clId="{49E1EDC4-949C-4C9A-9207-A653EB98B0DF}" dt="2024-11-19T09:14:13.499" v="4766" actId="47"/>
        <pc:sldMkLst>
          <pc:docMk/>
          <pc:sldMk cId="2207931909" sldId="2147475564"/>
        </pc:sldMkLst>
      </pc:sldChg>
      <pc:sldChg chg="add del ord">
        <pc:chgData name="Raphaella ASHRAF" userId="5247841d-d595-4c30-b58a-9906097315c5" providerId="ADAL" clId="{49E1EDC4-949C-4C9A-9207-A653EB98B0DF}" dt="2024-11-19T09:14:13.499" v="4766" actId="47"/>
        <pc:sldMkLst>
          <pc:docMk/>
          <pc:sldMk cId="1397707247" sldId="2147475565"/>
        </pc:sldMkLst>
      </pc:sldChg>
      <pc:sldChg chg="add del ord">
        <pc:chgData name="Raphaella ASHRAF" userId="5247841d-d595-4c30-b58a-9906097315c5" providerId="ADAL" clId="{49E1EDC4-949C-4C9A-9207-A653EB98B0DF}" dt="2024-11-19T09:14:13.499" v="4766" actId="47"/>
        <pc:sldMkLst>
          <pc:docMk/>
          <pc:sldMk cId="999404471" sldId="2147475566"/>
        </pc:sldMkLst>
      </pc:sldChg>
      <pc:sldChg chg="add del ord">
        <pc:chgData name="Raphaella ASHRAF" userId="5247841d-d595-4c30-b58a-9906097315c5" providerId="ADAL" clId="{49E1EDC4-949C-4C9A-9207-A653EB98B0DF}" dt="2024-11-19T09:14:13.499" v="4766" actId="47"/>
        <pc:sldMkLst>
          <pc:docMk/>
          <pc:sldMk cId="1975751688" sldId="2147475567"/>
        </pc:sldMkLst>
      </pc:sldChg>
      <pc:sldChg chg="add del ord">
        <pc:chgData name="Raphaella ASHRAF" userId="5247841d-d595-4c30-b58a-9906097315c5" providerId="ADAL" clId="{49E1EDC4-949C-4C9A-9207-A653EB98B0DF}" dt="2024-11-19T09:14:13.499" v="4766" actId="47"/>
        <pc:sldMkLst>
          <pc:docMk/>
          <pc:sldMk cId="646795923" sldId="2147475568"/>
        </pc:sldMkLst>
      </pc:sldChg>
      <pc:sldChg chg="add del ord">
        <pc:chgData name="Raphaella ASHRAF" userId="5247841d-d595-4c30-b58a-9906097315c5" providerId="ADAL" clId="{49E1EDC4-949C-4C9A-9207-A653EB98B0DF}" dt="2024-11-19T09:14:13.499" v="4766" actId="47"/>
        <pc:sldMkLst>
          <pc:docMk/>
          <pc:sldMk cId="2034673406" sldId="2147475569"/>
        </pc:sldMkLst>
      </pc:sldChg>
      <pc:sldChg chg="add del ord">
        <pc:chgData name="Raphaella ASHRAF" userId="5247841d-d595-4c30-b58a-9906097315c5" providerId="ADAL" clId="{49E1EDC4-949C-4C9A-9207-A653EB98B0DF}" dt="2024-11-19T09:14:13.499" v="4766" actId="47"/>
        <pc:sldMkLst>
          <pc:docMk/>
          <pc:sldMk cId="2001338840" sldId="2147475570"/>
        </pc:sldMkLst>
      </pc:sldChg>
      <pc:sldChg chg="add del ord">
        <pc:chgData name="Raphaella ASHRAF" userId="5247841d-d595-4c30-b58a-9906097315c5" providerId="ADAL" clId="{49E1EDC4-949C-4C9A-9207-A653EB98B0DF}" dt="2024-11-19T09:14:13.499" v="4766" actId="47"/>
        <pc:sldMkLst>
          <pc:docMk/>
          <pc:sldMk cId="1944814251" sldId="2147475571"/>
        </pc:sldMkLst>
      </pc:sldChg>
      <pc:sldChg chg="add del ord">
        <pc:chgData name="Raphaella ASHRAF" userId="5247841d-d595-4c30-b58a-9906097315c5" providerId="ADAL" clId="{49E1EDC4-949C-4C9A-9207-A653EB98B0DF}" dt="2024-11-19T09:14:13.499" v="4766" actId="47"/>
        <pc:sldMkLst>
          <pc:docMk/>
          <pc:sldMk cId="3868769337" sldId="2147475572"/>
        </pc:sldMkLst>
      </pc:sldChg>
      <pc:sldChg chg="add del ord">
        <pc:chgData name="Raphaella ASHRAF" userId="5247841d-d595-4c30-b58a-9906097315c5" providerId="ADAL" clId="{49E1EDC4-949C-4C9A-9207-A653EB98B0DF}" dt="2024-11-19T09:14:13.499" v="4766" actId="47"/>
        <pc:sldMkLst>
          <pc:docMk/>
          <pc:sldMk cId="1503754412" sldId="2147475573"/>
        </pc:sldMkLst>
      </pc:sldChg>
      <pc:sldChg chg="add del ord">
        <pc:chgData name="Raphaella ASHRAF" userId="5247841d-d595-4c30-b58a-9906097315c5" providerId="ADAL" clId="{49E1EDC4-949C-4C9A-9207-A653EB98B0DF}" dt="2024-11-19T09:14:13.499" v="4766" actId="47"/>
        <pc:sldMkLst>
          <pc:docMk/>
          <pc:sldMk cId="302521105" sldId="2147475574"/>
        </pc:sldMkLst>
      </pc:sldChg>
      <pc:sldChg chg="add del ord">
        <pc:chgData name="Raphaella ASHRAF" userId="5247841d-d595-4c30-b58a-9906097315c5" providerId="ADAL" clId="{49E1EDC4-949C-4C9A-9207-A653EB98B0DF}" dt="2024-11-19T09:14:13.499" v="4766" actId="47"/>
        <pc:sldMkLst>
          <pc:docMk/>
          <pc:sldMk cId="576513295" sldId="2147475575"/>
        </pc:sldMkLst>
      </pc:sldChg>
      <pc:sldChg chg="add del ord">
        <pc:chgData name="Raphaella ASHRAF" userId="5247841d-d595-4c30-b58a-9906097315c5" providerId="ADAL" clId="{49E1EDC4-949C-4C9A-9207-A653EB98B0DF}" dt="2024-11-19T09:14:13.499" v="4766" actId="47"/>
        <pc:sldMkLst>
          <pc:docMk/>
          <pc:sldMk cId="2472396187" sldId="2147475576"/>
        </pc:sldMkLst>
      </pc:sldChg>
      <pc:sldChg chg="add del ord">
        <pc:chgData name="Raphaella ASHRAF" userId="5247841d-d595-4c30-b58a-9906097315c5" providerId="ADAL" clId="{49E1EDC4-949C-4C9A-9207-A653EB98B0DF}" dt="2024-11-19T09:14:13.499" v="4766" actId="47"/>
        <pc:sldMkLst>
          <pc:docMk/>
          <pc:sldMk cId="2236345151" sldId="2147475577"/>
        </pc:sldMkLst>
      </pc:sldChg>
      <pc:sldChg chg="add del ord">
        <pc:chgData name="Raphaella ASHRAF" userId="5247841d-d595-4c30-b58a-9906097315c5" providerId="ADAL" clId="{49E1EDC4-949C-4C9A-9207-A653EB98B0DF}" dt="2024-11-19T09:14:13.499" v="4766" actId="47"/>
        <pc:sldMkLst>
          <pc:docMk/>
          <pc:sldMk cId="2452319345" sldId="2147475578"/>
        </pc:sldMkLst>
      </pc:sldChg>
      <pc:sldChg chg="add del ord">
        <pc:chgData name="Raphaella ASHRAF" userId="5247841d-d595-4c30-b58a-9906097315c5" providerId="ADAL" clId="{49E1EDC4-949C-4C9A-9207-A653EB98B0DF}" dt="2024-11-19T09:14:13.499" v="4766" actId="47"/>
        <pc:sldMkLst>
          <pc:docMk/>
          <pc:sldMk cId="3917389062" sldId="2147475579"/>
        </pc:sldMkLst>
      </pc:sldChg>
      <pc:sldChg chg="add del ord">
        <pc:chgData name="Raphaella ASHRAF" userId="5247841d-d595-4c30-b58a-9906097315c5" providerId="ADAL" clId="{49E1EDC4-949C-4C9A-9207-A653EB98B0DF}" dt="2024-11-19T09:14:13.499" v="4766" actId="47"/>
        <pc:sldMkLst>
          <pc:docMk/>
          <pc:sldMk cId="3455556895" sldId="2147475580"/>
        </pc:sldMkLst>
      </pc:sldChg>
      <pc:sldChg chg="add del ord">
        <pc:chgData name="Raphaella ASHRAF" userId="5247841d-d595-4c30-b58a-9906097315c5" providerId="ADAL" clId="{49E1EDC4-949C-4C9A-9207-A653EB98B0DF}" dt="2024-11-19T09:14:13.499" v="4766" actId="47"/>
        <pc:sldMkLst>
          <pc:docMk/>
          <pc:sldMk cId="3065504816" sldId="2147475581"/>
        </pc:sldMkLst>
      </pc:sldChg>
      <pc:sldChg chg="add del ord">
        <pc:chgData name="Raphaella ASHRAF" userId="5247841d-d595-4c30-b58a-9906097315c5" providerId="ADAL" clId="{49E1EDC4-949C-4C9A-9207-A653EB98B0DF}" dt="2024-11-19T09:14:13.499" v="4766" actId="47"/>
        <pc:sldMkLst>
          <pc:docMk/>
          <pc:sldMk cId="3873034027" sldId="2147475582"/>
        </pc:sldMkLst>
      </pc:sldChg>
      <pc:sldChg chg="add del ord">
        <pc:chgData name="Raphaella ASHRAF" userId="5247841d-d595-4c30-b58a-9906097315c5" providerId="ADAL" clId="{49E1EDC4-949C-4C9A-9207-A653EB98B0DF}" dt="2024-11-19T09:14:13.499" v="4766" actId="47"/>
        <pc:sldMkLst>
          <pc:docMk/>
          <pc:sldMk cId="1539749713" sldId="2147475583"/>
        </pc:sldMkLst>
      </pc:sldChg>
      <pc:sldChg chg="add del ord">
        <pc:chgData name="Raphaella ASHRAF" userId="5247841d-d595-4c30-b58a-9906097315c5" providerId="ADAL" clId="{49E1EDC4-949C-4C9A-9207-A653EB98B0DF}" dt="2024-11-19T09:14:13.499" v="4766" actId="47"/>
        <pc:sldMkLst>
          <pc:docMk/>
          <pc:sldMk cId="2393340099" sldId="2147475584"/>
        </pc:sldMkLst>
      </pc:sldChg>
      <pc:sldChg chg="add del ord">
        <pc:chgData name="Raphaella ASHRAF" userId="5247841d-d595-4c30-b58a-9906097315c5" providerId="ADAL" clId="{49E1EDC4-949C-4C9A-9207-A653EB98B0DF}" dt="2024-11-19T09:14:13.499" v="4766" actId="47"/>
        <pc:sldMkLst>
          <pc:docMk/>
          <pc:sldMk cId="4213135998" sldId="2147475585"/>
        </pc:sldMkLst>
      </pc:sldChg>
      <pc:sldChg chg="add del ord">
        <pc:chgData name="Raphaella ASHRAF" userId="5247841d-d595-4c30-b58a-9906097315c5" providerId="ADAL" clId="{49E1EDC4-949C-4C9A-9207-A653EB98B0DF}" dt="2024-11-19T09:14:13.499" v="4766" actId="47"/>
        <pc:sldMkLst>
          <pc:docMk/>
          <pc:sldMk cId="2530076775" sldId="2147475586"/>
        </pc:sldMkLst>
      </pc:sldChg>
      <pc:sldChg chg="add del ord">
        <pc:chgData name="Raphaella ASHRAF" userId="5247841d-d595-4c30-b58a-9906097315c5" providerId="ADAL" clId="{49E1EDC4-949C-4C9A-9207-A653EB98B0DF}" dt="2024-11-19T09:14:13.499" v="4766" actId="47"/>
        <pc:sldMkLst>
          <pc:docMk/>
          <pc:sldMk cId="1882515239" sldId="2147475587"/>
        </pc:sldMkLst>
      </pc:sldChg>
      <pc:sldChg chg="add del ord">
        <pc:chgData name="Raphaella ASHRAF" userId="5247841d-d595-4c30-b58a-9906097315c5" providerId="ADAL" clId="{49E1EDC4-949C-4C9A-9207-A653EB98B0DF}" dt="2024-11-19T09:14:13.499" v="4766" actId="47"/>
        <pc:sldMkLst>
          <pc:docMk/>
          <pc:sldMk cId="936993197" sldId="2147475588"/>
        </pc:sldMkLst>
      </pc:sldChg>
      <pc:sldChg chg="add del ord">
        <pc:chgData name="Raphaella ASHRAF" userId="5247841d-d595-4c30-b58a-9906097315c5" providerId="ADAL" clId="{49E1EDC4-949C-4C9A-9207-A653EB98B0DF}" dt="2024-11-19T09:14:13.499" v="4766" actId="47"/>
        <pc:sldMkLst>
          <pc:docMk/>
          <pc:sldMk cId="2434012341" sldId="2147475589"/>
        </pc:sldMkLst>
      </pc:sldChg>
      <pc:sldChg chg="add del ord">
        <pc:chgData name="Raphaella ASHRAF" userId="5247841d-d595-4c30-b58a-9906097315c5" providerId="ADAL" clId="{49E1EDC4-949C-4C9A-9207-A653EB98B0DF}" dt="2024-11-19T09:14:13.499" v="4766" actId="47"/>
        <pc:sldMkLst>
          <pc:docMk/>
          <pc:sldMk cId="2994839064" sldId="2147475590"/>
        </pc:sldMkLst>
      </pc:sldChg>
      <pc:sldChg chg="add del ord">
        <pc:chgData name="Raphaella ASHRAF" userId="5247841d-d595-4c30-b58a-9906097315c5" providerId="ADAL" clId="{49E1EDC4-949C-4C9A-9207-A653EB98B0DF}" dt="2024-11-19T09:14:13.499" v="4766" actId="47"/>
        <pc:sldMkLst>
          <pc:docMk/>
          <pc:sldMk cId="3051387192" sldId="2147475591"/>
        </pc:sldMkLst>
      </pc:sldChg>
      <pc:sldChg chg="add del ord">
        <pc:chgData name="Raphaella ASHRAF" userId="5247841d-d595-4c30-b58a-9906097315c5" providerId="ADAL" clId="{49E1EDC4-949C-4C9A-9207-A653EB98B0DF}" dt="2024-11-19T09:14:13.499" v="4766" actId="47"/>
        <pc:sldMkLst>
          <pc:docMk/>
          <pc:sldMk cId="3182693636" sldId="2147475592"/>
        </pc:sldMkLst>
      </pc:sldChg>
      <pc:sldChg chg="add del ord">
        <pc:chgData name="Raphaella ASHRAF" userId="5247841d-d595-4c30-b58a-9906097315c5" providerId="ADAL" clId="{49E1EDC4-949C-4C9A-9207-A653EB98B0DF}" dt="2024-11-19T09:14:13.499" v="4766" actId="47"/>
        <pc:sldMkLst>
          <pc:docMk/>
          <pc:sldMk cId="3541977781" sldId="2147475593"/>
        </pc:sldMkLst>
      </pc:sldChg>
      <pc:sldChg chg="add del ord">
        <pc:chgData name="Raphaella ASHRAF" userId="5247841d-d595-4c30-b58a-9906097315c5" providerId="ADAL" clId="{49E1EDC4-949C-4C9A-9207-A653EB98B0DF}" dt="2024-11-19T09:14:13.499" v="4766" actId="47"/>
        <pc:sldMkLst>
          <pc:docMk/>
          <pc:sldMk cId="1748347427" sldId="2147475594"/>
        </pc:sldMkLst>
      </pc:sldChg>
      <pc:sldChg chg="add del ord">
        <pc:chgData name="Raphaella ASHRAF" userId="5247841d-d595-4c30-b58a-9906097315c5" providerId="ADAL" clId="{49E1EDC4-949C-4C9A-9207-A653EB98B0DF}" dt="2024-11-19T09:14:13.499" v="4766" actId="47"/>
        <pc:sldMkLst>
          <pc:docMk/>
          <pc:sldMk cId="2093532884" sldId="2147475595"/>
        </pc:sldMkLst>
      </pc:sldChg>
      <pc:sldChg chg="add del ord">
        <pc:chgData name="Raphaella ASHRAF" userId="5247841d-d595-4c30-b58a-9906097315c5" providerId="ADAL" clId="{49E1EDC4-949C-4C9A-9207-A653EB98B0DF}" dt="2024-11-19T09:14:13.499" v="4766" actId="47"/>
        <pc:sldMkLst>
          <pc:docMk/>
          <pc:sldMk cId="3301273121" sldId="2147475596"/>
        </pc:sldMkLst>
      </pc:sldChg>
      <pc:sldChg chg="add del ord">
        <pc:chgData name="Raphaella ASHRAF" userId="5247841d-d595-4c30-b58a-9906097315c5" providerId="ADAL" clId="{49E1EDC4-949C-4C9A-9207-A653EB98B0DF}" dt="2024-11-19T09:14:13.499" v="4766" actId="47"/>
        <pc:sldMkLst>
          <pc:docMk/>
          <pc:sldMk cId="364307861" sldId="2147475597"/>
        </pc:sldMkLst>
      </pc:sldChg>
      <pc:sldChg chg="add del ord">
        <pc:chgData name="Raphaella ASHRAF" userId="5247841d-d595-4c30-b58a-9906097315c5" providerId="ADAL" clId="{49E1EDC4-949C-4C9A-9207-A653EB98B0DF}" dt="2024-11-19T09:14:13.499" v="4766" actId="47"/>
        <pc:sldMkLst>
          <pc:docMk/>
          <pc:sldMk cId="539360214" sldId="2147475598"/>
        </pc:sldMkLst>
      </pc:sldChg>
      <pc:sldChg chg="add del ord">
        <pc:chgData name="Raphaella ASHRAF" userId="5247841d-d595-4c30-b58a-9906097315c5" providerId="ADAL" clId="{49E1EDC4-949C-4C9A-9207-A653EB98B0DF}" dt="2024-11-19T09:14:13.499" v="4766" actId="47"/>
        <pc:sldMkLst>
          <pc:docMk/>
          <pc:sldMk cId="2155200427" sldId="2147475599"/>
        </pc:sldMkLst>
      </pc:sldChg>
      <pc:sldChg chg="add del ord">
        <pc:chgData name="Raphaella ASHRAF" userId="5247841d-d595-4c30-b58a-9906097315c5" providerId="ADAL" clId="{49E1EDC4-949C-4C9A-9207-A653EB98B0DF}" dt="2024-11-19T09:14:13.499" v="4766" actId="47"/>
        <pc:sldMkLst>
          <pc:docMk/>
          <pc:sldMk cId="3966721208" sldId="2147475600"/>
        </pc:sldMkLst>
      </pc:sldChg>
      <pc:sldChg chg="add del ord">
        <pc:chgData name="Raphaella ASHRAF" userId="5247841d-d595-4c30-b58a-9906097315c5" providerId="ADAL" clId="{49E1EDC4-949C-4C9A-9207-A653EB98B0DF}" dt="2024-11-19T09:14:13.499" v="4766" actId="47"/>
        <pc:sldMkLst>
          <pc:docMk/>
          <pc:sldMk cId="2465565640" sldId="2147475601"/>
        </pc:sldMkLst>
      </pc:sldChg>
      <pc:sldChg chg="add del ord">
        <pc:chgData name="Raphaella ASHRAF" userId="5247841d-d595-4c30-b58a-9906097315c5" providerId="ADAL" clId="{49E1EDC4-949C-4C9A-9207-A653EB98B0DF}" dt="2024-11-19T09:14:13.499" v="4766" actId="47"/>
        <pc:sldMkLst>
          <pc:docMk/>
          <pc:sldMk cId="3136009789" sldId="2147475602"/>
        </pc:sldMkLst>
      </pc:sldChg>
      <pc:sldChg chg="add del ord">
        <pc:chgData name="Raphaella ASHRAF" userId="5247841d-d595-4c30-b58a-9906097315c5" providerId="ADAL" clId="{49E1EDC4-949C-4C9A-9207-A653EB98B0DF}" dt="2024-11-19T09:14:13.499" v="4766" actId="47"/>
        <pc:sldMkLst>
          <pc:docMk/>
          <pc:sldMk cId="293288528" sldId="2147475603"/>
        </pc:sldMkLst>
      </pc:sldChg>
      <pc:sldChg chg="add del ord">
        <pc:chgData name="Raphaella ASHRAF" userId="5247841d-d595-4c30-b58a-9906097315c5" providerId="ADAL" clId="{49E1EDC4-949C-4C9A-9207-A653EB98B0DF}" dt="2024-11-19T09:14:13.499" v="4766" actId="47"/>
        <pc:sldMkLst>
          <pc:docMk/>
          <pc:sldMk cId="66271843" sldId="2147475604"/>
        </pc:sldMkLst>
      </pc:sldChg>
      <pc:sldChg chg="add del ord">
        <pc:chgData name="Raphaella ASHRAF" userId="5247841d-d595-4c30-b58a-9906097315c5" providerId="ADAL" clId="{49E1EDC4-949C-4C9A-9207-A653EB98B0DF}" dt="2024-11-19T09:14:13.499" v="4766" actId="47"/>
        <pc:sldMkLst>
          <pc:docMk/>
          <pc:sldMk cId="801845264" sldId="2147475605"/>
        </pc:sldMkLst>
      </pc:sldChg>
      <pc:sldChg chg="add del ord">
        <pc:chgData name="Raphaella ASHRAF" userId="5247841d-d595-4c30-b58a-9906097315c5" providerId="ADAL" clId="{49E1EDC4-949C-4C9A-9207-A653EB98B0DF}" dt="2024-11-19T09:14:13.499" v="4766" actId="47"/>
        <pc:sldMkLst>
          <pc:docMk/>
          <pc:sldMk cId="1207464991" sldId="2147475606"/>
        </pc:sldMkLst>
      </pc:sldChg>
      <pc:sldChg chg="add del ord">
        <pc:chgData name="Raphaella ASHRAF" userId="5247841d-d595-4c30-b58a-9906097315c5" providerId="ADAL" clId="{49E1EDC4-949C-4C9A-9207-A653EB98B0DF}" dt="2024-11-19T09:14:13.499" v="4766" actId="47"/>
        <pc:sldMkLst>
          <pc:docMk/>
          <pc:sldMk cId="2493822066" sldId="2147475607"/>
        </pc:sldMkLst>
      </pc:sldChg>
      <pc:sldChg chg="add del ord">
        <pc:chgData name="Raphaella ASHRAF" userId="5247841d-d595-4c30-b58a-9906097315c5" providerId="ADAL" clId="{49E1EDC4-949C-4C9A-9207-A653EB98B0DF}" dt="2024-11-19T09:14:13.499" v="4766" actId="47"/>
        <pc:sldMkLst>
          <pc:docMk/>
          <pc:sldMk cId="189865358" sldId="2147475608"/>
        </pc:sldMkLst>
      </pc:sldChg>
      <pc:sldChg chg="add del ord">
        <pc:chgData name="Raphaella ASHRAF" userId="5247841d-d595-4c30-b58a-9906097315c5" providerId="ADAL" clId="{49E1EDC4-949C-4C9A-9207-A653EB98B0DF}" dt="2024-11-19T09:14:13.499" v="4766" actId="47"/>
        <pc:sldMkLst>
          <pc:docMk/>
          <pc:sldMk cId="1473167552" sldId="2147475609"/>
        </pc:sldMkLst>
      </pc:sldChg>
      <pc:sldChg chg="add del ord">
        <pc:chgData name="Raphaella ASHRAF" userId="5247841d-d595-4c30-b58a-9906097315c5" providerId="ADAL" clId="{49E1EDC4-949C-4C9A-9207-A653EB98B0DF}" dt="2024-11-19T09:14:13.499" v="4766" actId="47"/>
        <pc:sldMkLst>
          <pc:docMk/>
          <pc:sldMk cId="2733113248" sldId="2147475610"/>
        </pc:sldMkLst>
      </pc:sldChg>
      <pc:sldChg chg="add del ord">
        <pc:chgData name="Raphaella ASHRAF" userId="5247841d-d595-4c30-b58a-9906097315c5" providerId="ADAL" clId="{49E1EDC4-949C-4C9A-9207-A653EB98B0DF}" dt="2024-11-19T09:14:13.499" v="4766" actId="47"/>
        <pc:sldMkLst>
          <pc:docMk/>
          <pc:sldMk cId="2325534783" sldId="2147475611"/>
        </pc:sldMkLst>
      </pc:sldChg>
      <pc:sldChg chg="add del ord">
        <pc:chgData name="Raphaella ASHRAF" userId="5247841d-d595-4c30-b58a-9906097315c5" providerId="ADAL" clId="{49E1EDC4-949C-4C9A-9207-A653EB98B0DF}" dt="2024-11-19T09:14:13.499" v="4766" actId="47"/>
        <pc:sldMkLst>
          <pc:docMk/>
          <pc:sldMk cId="3603180015" sldId="2147475612"/>
        </pc:sldMkLst>
      </pc:sldChg>
      <pc:sldChg chg="add del ord">
        <pc:chgData name="Raphaella ASHRAF" userId="5247841d-d595-4c30-b58a-9906097315c5" providerId="ADAL" clId="{49E1EDC4-949C-4C9A-9207-A653EB98B0DF}" dt="2024-11-19T09:14:13.499" v="4766" actId="47"/>
        <pc:sldMkLst>
          <pc:docMk/>
          <pc:sldMk cId="2764954155" sldId="2147475613"/>
        </pc:sldMkLst>
      </pc:sldChg>
      <pc:sldChg chg="add del ord">
        <pc:chgData name="Raphaella ASHRAF" userId="5247841d-d595-4c30-b58a-9906097315c5" providerId="ADAL" clId="{49E1EDC4-949C-4C9A-9207-A653EB98B0DF}" dt="2024-11-19T09:14:13.499" v="4766" actId="47"/>
        <pc:sldMkLst>
          <pc:docMk/>
          <pc:sldMk cId="1952378777" sldId="2147475614"/>
        </pc:sldMkLst>
      </pc:sldChg>
      <pc:sldChg chg="add del ord">
        <pc:chgData name="Raphaella ASHRAF" userId="5247841d-d595-4c30-b58a-9906097315c5" providerId="ADAL" clId="{49E1EDC4-949C-4C9A-9207-A653EB98B0DF}" dt="2024-11-19T09:14:13.499" v="4766" actId="47"/>
        <pc:sldMkLst>
          <pc:docMk/>
          <pc:sldMk cId="1749662977" sldId="2147475615"/>
        </pc:sldMkLst>
      </pc:sldChg>
      <pc:sldChg chg="add del ord">
        <pc:chgData name="Raphaella ASHRAF" userId="5247841d-d595-4c30-b58a-9906097315c5" providerId="ADAL" clId="{49E1EDC4-949C-4C9A-9207-A653EB98B0DF}" dt="2024-11-19T09:14:13.499" v="4766" actId="47"/>
        <pc:sldMkLst>
          <pc:docMk/>
          <pc:sldMk cId="2565785185" sldId="2147475616"/>
        </pc:sldMkLst>
      </pc:sldChg>
      <pc:sldChg chg="add del ord">
        <pc:chgData name="Raphaella ASHRAF" userId="5247841d-d595-4c30-b58a-9906097315c5" providerId="ADAL" clId="{49E1EDC4-949C-4C9A-9207-A653EB98B0DF}" dt="2024-11-19T09:14:13.499" v="4766" actId="47"/>
        <pc:sldMkLst>
          <pc:docMk/>
          <pc:sldMk cId="1458351134" sldId="2147475617"/>
        </pc:sldMkLst>
      </pc:sldChg>
      <pc:sldChg chg="add del ord">
        <pc:chgData name="Raphaella ASHRAF" userId="5247841d-d595-4c30-b58a-9906097315c5" providerId="ADAL" clId="{49E1EDC4-949C-4C9A-9207-A653EB98B0DF}" dt="2024-11-19T09:14:13.499" v="4766" actId="47"/>
        <pc:sldMkLst>
          <pc:docMk/>
          <pc:sldMk cId="2610622546" sldId="2147475618"/>
        </pc:sldMkLst>
      </pc:sldChg>
      <pc:sldChg chg="add del ord">
        <pc:chgData name="Raphaella ASHRAF" userId="5247841d-d595-4c30-b58a-9906097315c5" providerId="ADAL" clId="{49E1EDC4-949C-4C9A-9207-A653EB98B0DF}" dt="2024-11-19T09:14:13.499" v="4766" actId="47"/>
        <pc:sldMkLst>
          <pc:docMk/>
          <pc:sldMk cId="2213881170" sldId="2147475619"/>
        </pc:sldMkLst>
      </pc:sldChg>
      <pc:sldChg chg="add del ord">
        <pc:chgData name="Raphaella ASHRAF" userId="5247841d-d595-4c30-b58a-9906097315c5" providerId="ADAL" clId="{49E1EDC4-949C-4C9A-9207-A653EB98B0DF}" dt="2024-11-19T09:14:13.499" v="4766" actId="47"/>
        <pc:sldMkLst>
          <pc:docMk/>
          <pc:sldMk cId="1918885308" sldId="2147475620"/>
        </pc:sldMkLst>
      </pc:sldChg>
      <pc:sldChg chg="add del ord">
        <pc:chgData name="Raphaella ASHRAF" userId="5247841d-d595-4c30-b58a-9906097315c5" providerId="ADAL" clId="{49E1EDC4-949C-4C9A-9207-A653EB98B0DF}" dt="2024-11-19T09:14:13.499" v="4766" actId="47"/>
        <pc:sldMkLst>
          <pc:docMk/>
          <pc:sldMk cId="1501189012" sldId="2147475621"/>
        </pc:sldMkLst>
      </pc:sldChg>
      <pc:sldChg chg="add del ord">
        <pc:chgData name="Raphaella ASHRAF" userId="5247841d-d595-4c30-b58a-9906097315c5" providerId="ADAL" clId="{49E1EDC4-949C-4C9A-9207-A653EB98B0DF}" dt="2024-11-19T09:14:13.499" v="4766" actId="47"/>
        <pc:sldMkLst>
          <pc:docMk/>
          <pc:sldMk cId="180226948" sldId="2147475622"/>
        </pc:sldMkLst>
      </pc:sldChg>
      <pc:sldChg chg="add del ord">
        <pc:chgData name="Raphaella ASHRAF" userId="5247841d-d595-4c30-b58a-9906097315c5" providerId="ADAL" clId="{49E1EDC4-949C-4C9A-9207-A653EB98B0DF}" dt="2024-11-19T09:14:13.499" v="4766" actId="47"/>
        <pc:sldMkLst>
          <pc:docMk/>
          <pc:sldMk cId="562754105" sldId="2147475623"/>
        </pc:sldMkLst>
      </pc:sldChg>
      <pc:sldChg chg="add del ord">
        <pc:chgData name="Raphaella ASHRAF" userId="5247841d-d595-4c30-b58a-9906097315c5" providerId="ADAL" clId="{49E1EDC4-949C-4C9A-9207-A653EB98B0DF}" dt="2024-11-19T09:14:13.499" v="4766" actId="47"/>
        <pc:sldMkLst>
          <pc:docMk/>
          <pc:sldMk cId="1330259681" sldId="2147475624"/>
        </pc:sldMkLst>
      </pc:sldChg>
      <pc:sldChg chg="add del ord">
        <pc:chgData name="Raphaella ASHRAF" userId="5247841d-d595-4c30-b58a-9906097315c5" providerId="ADAL" clId="{49E1EDC4-949C-4C9A-9207-A653EB98B0DF}" dt="2024-11-19T09:14:13.499" v="4766" actId="47"/>
        <pc:sldMkLst>
          <pc:docMk/>
          <pc:sldMk cId="2383290734" sldId="2147475625"/>
        </pc:sldMkLst>
      </pc:sldChg>
      <pc:sldChg chg="add del ord">
        <pc:chgData name="Raphaella ASHRAF" userId="5247841d-d595-4c30-b58a-9906097315c5" providerId="ADAL" clId="{49E1EDC4-949C-4C9A-9207-A653EB98B0DF}" dt="2024-11-19T09:14:13.499" v="4766" actId="47"/>
        <pc:sldMkLst>
          <pc:docMk/>
          <pc:sldMk cId="2571583227" sldId="2147475626"/>
        </pc:sldMkLst>
      </pc:sldChg>
      <pc:sldChg chg="add del ord">
        <pc:chgData name="Raphaella ASHRAF" userId="5247841d-d595-4c30-b58a-9906097315c5" providerId="ADAL" clId="{49E1EDC4-949C-4C9A-9207-A653EB98B0DF}" dt="2024-11-19T09:14:13.499" v="4766" actId="47"/>
        <pc:sldMkLst>
          <pc:docMk/>
          <pc:sldMk cId="3585641077" sldId="2147475627"/>
        </pc:sldMkLst>
      </pc:sldChg>
      <pc:sldChg chg="add del ord">
        <pc:chgData name="Raphaella ASHRAF" userId="5247841d-d595-4c30-b58a-9906097315c5" providerId="ADAL" clId="{49E1EDC4-949C-4C9A-9207-A653EB98B0DF}" dt="2024-11-19T09:14:13.499" v="4766" actId="47"/>
        <pc:sldMkLst>
          <pc:docMk/>
          <pc:sldMk cId="898593270" sldId="2147475628"/>
        </pc:sldMkLst>
      </pc:sldChg>
      <pc:sldChg chg="add del ord">
        <pc:chgData name="Raphaella ASHRAF" userId="5247841d-d595-4c30-b58a-9906097315c5" providerId="ADAL" clId="{49E1EDC4-949C-4C9A-9207-A653EB98B0DF}" dt="2024-11-19T09:14:13.499" v="4766" actId="47"/>
        <pc:sldMkLst>
          <pc:docMk/>
          <pc:sldMk cId="3956332401" sldId="2147475629"/>
        </pc:sldMkLst>
      </pc:sldChg>
      <pc:sldChg chg="add del ord">
        <pc:chgData name="Raphaella ASHRAF" userId="5247841d-d595-4c30-b58a-9906097315c5" providerId="ADAL" clId="{49E1EDC4-949C-4C9A-9207-A653EB98B0DF}" dt="2024-11-19T09:14:13.499" v="4766" actId="47"/>
        <pc:sldMkLst>
          <pc:docMk/>
          <pc:sldMk cId="4167737730" sldId="2147475630"/>
        </pc:sldMkLst>
      </pc:sldChg>
      <pc:sldChg chg="add del ord">
        <pc:chgData name="Raphaella ASHRAF" userId="5247841d-d595-4c30-b58a-9906097315c5" providerId="ADAL" clId="{49E1EDC4-949C-4C9A-9207-A653EB98B0DF}" dt="2024-11-19T09:14:13.499" v="4766" actId="47"/>
        <pc:sldMkLst>
          <pc:docMk/>
          <pc:sldMk cId="789133084" sldId="2147475631"/>
        </pc:sldMkLst>
      </pc:sldChg>
      <pc:sldChg chg="add del ord">
        <pc:chgData name="Raphaella ASHRAF" userId="5247841d-d595-4c30-b58a-9906097315c5" providerId="ADAL" clId="{49E1EDC4-949C-4C9A-9207-A653EB98B0DF}" dt="2024-11-19T09:14:13.499" v="4766" actId="47"/>
        <pc:sldMkLst>
          <pc:docMk/>
          <pc:sldMk cId="3919099155" sldId="2147475632"/>
        </pc:sldMkLst>
      </pc:sldChg>
      <pc:sldChg chg="add del ord">
        <pc:chgData name="Raphaella ASHRAF" userId="5247841d-d595-4c30-b58a-9906097315c5" providerId="ADAL" clId="{49E1EDC4-949C-4C9A-9207-A653EB98B0DF}" dt="2024-11-19T09:14:13.499" v="4766" actId="47"/>
        <pc:sldMkLst>
          <pc:docMk/>
          <pc:sldMk cId="3546233895" sldId="2147475633"/>
        </pc:sldMkLst>
      </pc:sldChg>
      <pc:sldChg chg="add del ord">
        <pc:chgData name="Raphaella ASHRAF" userId="5247841d-d595-4c30-b58a-9906097315c5" providerId="ADAL" clId="{49E1EDC4-949C-4C9A-9207-A653EB98B0DF}" dt="2024-11-19T09:14:13.499" v="4766" actId="47"/>
        <pc:sldMkLst>
          <pc:docMk/>
          <pc:sldMk cId="749063957" sldId="2147475634"/>
        </pc:sldMkLst>
      </pc:sldChg>
      <pc:sldChg chg="add del ord">
        <pc:chgData name="Raphaella ASHRAF" userId="5247841d-d595-4c30-b58a-9906097315c5" providerId="ADAL" clId="{49E1EDC4-949C-4C9A-9207-A653EB98B0DF}" dt="2024-11-19T09:14:13.499" v="4766" actId="47"/>
        <pc:sldMkLst>
          <pc:docMk/>
          <pc:sldMk cId="1098869885" sldId="2147475635"/>
        </pc:sldMkLst>
      </pc:sldChg>
      <pc:sldChg chg="add del ord">
        <pc:chgData name="Raphaella ASHRAF" userId="5247841d-d595-4c30-b58a-9906097315c5" providerId="ADAL" clId="{49E1EDC4-949C-4C9A-9207-A653EB98B0DF}" dt="2024-11-19T09:14:13.499" v="4766" actId="47"/>
        <pc:sldMkLst>
          <pc:docMk/>
          <pc:sldMk cId="880973561" sldId="2147475636"/>
        </pc:sldMkLst>
      </pc:sldChg>
      <pc:sldChg chg="add del ord">
        <pc:chgData name="Raphaella ASHRAF" userId="5247841d-d595-4c30-b58a-9906097315c5" providerId="ADAL" clId="{49E1EDC4-949C-4C9A-9207-A653EB98B0DF}" dt="2024-11-19T09:14:13.499" v="4766" actId="47"/>
        <pc:sldMkLst>
          <pc:docMk/>
          <pc:sldMk cId="621721382" sldId="2147475637"/>
        </pc:sldMkLst>
      </pc:sldChg>
      <pc:sldChg chg="add del ord">
        <pc:chgData name="Raphaella ASHRAF" userId="5247841d-d595-4c30-b58a-9906097315c5" providerId="ADAL" clId="{49E1EDC4-949C-4C9A-9207-A653EB98B0DF}" dt="2024-11-19T09:14:13.499" v="4766" actId="47"/>
        <pc:sldMkLst>
          <pc:docMk/>
          <pc:sldMk cId="2750128747" sldId="2147475638"/>
        </pc:sldMkLst>
      </pc:sldChg>
      <pc:sldChg chg="add del ord">
        <pc:chgData name="Raphaella ASHRAF" userId="5247841d-d595-4c30-b58a-9906097315c5" providerId="ADAL" clId="{49E1EDC4-949C-4C9A-9207-A653EB98B0DF}" dt="2024-11-19T09:14:13.499" v="4766" actId="47"/>
        <pc:sldMkLst>
          <pc:docMk/>
          <pc:sldMk cId="926297680" sldId="2147475639"/>
        </pc:sldMkLst>
      </pc:sldChg>
      <pc:sldChg chg="add del ord">
        <pc:chgData name="Raphaella ASHRAF" userId="5247841d-d595-4c30-b58a-9906097315c5" providerId="ADAL" clId="{49E1EDC4-949C-4C9A-9207-A653EB98B0DF}" dt="2024-11-19T09:14:13.499" v="4766" actId="47"/>
        <pc:sldMkLst>
          <pc:docMk/>
          <pc:sldMk cId="2700311358" sldId="2147475640"/>
        </pc:sldMkLst>
      </pc:sldChg>
      <pc:sldChg chg="add del ord">
        <pc:chgData name="Raphaella ASHRAF" userId="5247841d-d595-4c30-b58a-9906097315c5" providerId="ADAL" clId="{49E1EDC4-949C-4C9A-9207-A653EB98B0DF}" dt="2024-11-19T09:14:13.499" v="4766" actId="47"/>
        <pc:sldMkLst>
          <pc:docMk/>
          <pc:sldMk cId="1209330183" sldId="2147475641"/>
        </pc:sldMkLst>
      </pc:sldChg>
      <pc:sldChg chg="add del ord">
        <pc:chgData name="Raphaella ASHRAF" userId="5247841d-d595-4c30-b58a-9906097315c5" providerId="ADAL" clId="{49E1EDC4-949C-4C9A-9207-A653EB98B0DF}" dt="2024-11-19T09:14:13.499" v="4766" actId="47"/>
        <pc:sldMkLst>
          <pc:docMk/>
          <pc:sldMk cId="2381085985" sldId="2147475642"/>
        </pc:sldMkLst>
      </pc:sldChg>
      <pc:sldChg chg="add del ord">
        <pc:chgData name="Raphaella ASHRAF" userId="5247841d-d595-4c30-b58a-9906097315c5" providerId="ADAL" clId="{49E1EDC4-949C-4C9A-9207-A653EB98B0DF}" dt="2024-11-19T09:14:13.499" v="4766" actId="47"/>
        <pc:sldMkLst>
          <pc:docMk/>
          <pc:sldMk cId="199490060" sldId="2147475643"/>
        </pc:sldMkLst>
      </pc:sldChg>
      <pc:sldChg chg="add del ord">
        <pc:chgData name="Raphaella ASHRAF" userId="5247841d-d595-4c30-b58a-9906097315c5" providerId="ADAL" clId="{49E1EDC4-949C-4C9A-9207-A653EB98B0DF}" dt="2024-11-19T09:14:13.499" v="4766" actId="47"/>
        <pc:sldMkLst>
          <pc:docMk/>
          <pc:sldMk cId="795102208" sldId="2147475644"/>
        </pc:sldMkLst>
      </pc:sldChg>
      <pc:sldChg chg="add del ord">
        <pc:chgData name="Raphaella ASHRAF" userId="5247841d-d595-4c30-b58a-9906097315c5" providerId="ADAL" clId="{49E1EDC4-949C-4C9A-9207-A653EB98B0DF}" dt="2024-11-19T09:14:13.499" v="4766" actId="47"/>
        <pc:sldMkLst>
          <pc:docMk/>
          <pc:sldMk cId="3323759656" sldId="2147475645"/>
        </pc:sldMkLst>
      </pc:sldChg>
      <pc:sldChg chg="add del ord">
        <pc:chgData name="Raphaella ASHRAF" userId="5247841d-d595-4c30-b58a-9906097315c5" providerId="ADAL" clId="{49E1EDC4-949C-4C9A-9207-A653EB98B0DF}" dt="2024-11-19T09:14:13.499" v="4766" actId="47"/>
        <pc:sldMkLst>
          <pc:docMk/>
          <pc:sldMk cId="3310977246" sldId="2147475646"/>
        </pc:sldMkLst>
      </pc:sldChg>
      <pc:sldChg chg="add del ord">
        <pc:chgData name="Raphaella ASHRAF" userId="5247841d-d595-4c30-b58a-9906097315c5" providerId="ADAL" clId="{49E1EDC4-949C-4C9A-9207-A653EB98B0DF}" dt="2024-11-19T09:14:13.499" v="4766" actId="47"/>
        <pc:sldMkLst>
          <pc:docMk/>
          <pc:sldMk cId="3749181014" sldId="2147475647"/>
        </pc:sldMkLst>
      </pc:sldChg>
      <pc:sldChg chg="add del ord">
        <pc:chgData name="Raphaella ASHRAF" userId="5247841d-d595-4c30-b58a-9906097315c5" providerId="ADAL" clId="{49E1EDC4-949C-4C9A-9207-A653EB98B0DF}" dt="2024-11-19T09:14:13.499" v="4766" actId="47"/>
        <pc:sldMkLst>
          <pc:docMk/>
          <pc:sldMk cId="2833682072" sldId="2147475648"/>
        </pc:sldMkLst>
      </pc:sldChg>
      <pc:sldChg chg="add del ord">
        <pc:chgData name="Raphaella ASHRAF" userId="5247841d-d595-4c30-b58a-9906097315c5" providerId="ADAL" clId="{49E1EDC4-949C-4C9A-9207-A653EB98B0DF}" dt="2024-11-19T09:14:13.499" v="4766" actId="47"/>
        <pc:sldMkLst>
          <pc:docMk/>
          <pc:sldMk cId="3519931923" sldId="2147475649"/>
        </pc:sldMkLst>
      </pc:sldChg>
      <pc:sldChg chg="add del ord">
        <pc:chgData name="Raphaella ASHRAF" userId="5247841d-d595-4c30-b58a-9906097315c5" providerId="ADAL" clId="{49E1EDC4-949C-4C9A-9207-A653EB98B0DF}" dt="2024-11-19T09:14:13.499" v="4766" actId="47"/>
        <pc:sldMkLst>
          <pc:docMk/>
          <pc:sldMk cId="117266643" sldId="2147475650"/>
        </pc:sldMkLst>
      </pc:sldChg>
      <pc:sldChg chg="add del ord">
        <pc:chgData name="Raphaella ASHRAF" userId="5247841d-d595-4c30-b58a-9906097315c5" providerId="ADAL" clId="{49E1EDC4-949C-4C9A-9207-A653EB98B0DF}" dt="2024-11-19T09:14:13.499" v="4766" actId="47"/>
        <pc:sldMkLst>
          <pc:docMk/>
          <pc:sldMk cId="1214008124" sldId="2147475651"/>
        </pc:sldMkLst>
      </pc:sldChg>
      <pc:sldChg chg="add del ord">
        <pc:chgData name="Raphaella ASHRAF" userId="5247841d-d595-4c30-b58a-9906097315c5" providerId="ADAL" clId="{49E1EDC4-949C-4C9A-9207-A653EB98B0DF}" dt="2024-11-19T09:14:13.499" v="4766" actId="47"/>
        <pc:sldMkLst>
          <pc:docMk/>
          <pc:sldMk cId="1222785770" sldId="2147475652"/>
        </pc:sldMkLst>
      </pc:sldChg>
      <pc:sldChg chg="add del ord">
        <pc:chgData name="Raphaella ASHRAF" userId="5247841d-d595-4c30-b58a-9906097315c5" providerId="ADAL" clId="{49E1EDC4-949C-4C9A-9207-A653EB98B0DF}" dt="2024-11-19T09:14:13.499" v="4766" actId="47"/>
        <pc:sldMkLst>
          <pc:docMk/>
          <pc:sldMk cId="2524241716" sldId="2147475653"/>
        </pc:sldMkLst>
      </pc:sldChg>
      <pc:sldChg chg="add del ord">
        <pc:chgData name="Raphaella ASHRAF" userId="5247841d-d595-4c30-b58a-9906097315c5" providerId="ADAL" clId="{49E1EDC4-949C-4C9A-9207-A653EB98B0DF}" dt="2024-11-19T09:14:13.499" v="4766" actId="47"/>
        <pc:sldMkLst>
          <pc:docMk/>
          <pc:sldMk cId="3854558900" sldId="2147475654"/>
        </pc:sldMkLst>
      </pc:sldChg>
      <pc:sldChg chg="add del ord">
        <pc:chgData name="Raphaella ASHRAF" userId="5247841d-d595-4c30-b58a-9906097315c5" providerId="ADAL" clId="{49E1EDC4-949C-4C9A-9207-A653EB98B0DF}" dt="2024-11-19T09:14:13.499" v="4766" actId="47"/>
        <pc:sldMkLst>
          <pc:docMk/>
          <pc:sldMk cId="782857071" sldId="2147475655"/>
        </pc:sldMkLst>
      </pc:sldChg>
      <pc:sldChg chg="add del ord">
        <pc:chgData name="Raphaella ASHRAF" userId="5247841d-d595-4c30-b58a-9906097315c5" providerId="ADAL" clId="{49E1EDC4-949C-4C9A-9207-A653EB98B0DF}" dt="2024-11-19T09:14:13.499" v="4766" actId="47"/>
        <pc:sldMkLst>
          <pc:docMk/>
          <pc:sldMk cId="2994000304" sldId="2147475656"/>
        </pc:sldMkLst>
      </pc:sldChg>
      <pc:sldChg chg="add del ord">
        <pc:chgData name="Raphaella ASHRAF" userId="5247841d-d595-4c30-b58a-9906097315c5" providerId="ADAL" clId="{49E1EDC4-949C-4C9A-9207-A653EB98B0DF}" dt="2024-11-19T09:14:13.499" v="4766" actId="47"/>
        <pc:sldMkLst>
          <pc:docMk/>
          <pc:sldMk cId="1730098680" sldId="2147475657"/>
        </pc:sldMkLst>
      </pc:sldChg>
      <pc:sldChg chg="add del ord">
        <pc:chgData name="Raphaella ASHRAF" userId="5247841d-d595-4c30-b58a-9906097315c5" providerId="ADAL" clId="{49E1EDC4-949C-4C9A-9207-A653EB98B0DF}" dt="2024-11-19T09:14:13.499" v="4766" actId="47"/>
        <pc:sldMkLst>
          <pc:docMk/>
          <pc:sldMk cId="1661742954" sldId="2147475658"/>
        </pc:sldMkLst>
      </pc:sldChg>
      <pc:sldChg chg="add del ord">
        <pc:chgData name="Raphaella ASHRAF" userId="5247841d-d595-4c30-b58a-9906097315c5" providerId="ADAL" clId="{49E1EDC4-949C-4C9A-9207-A653EB98B0DF}" dt="2024-11-19T09:14:13.499" v="4766" actId="47"/>
        <pc:sldMkLst>
          <pc:docMk/>
          <pc:sldMk cId="1950592272" sldId="2147475659"/>
        </pc:sldMkLst>
      </pc:sldChg>
      <pc:sldChg chg="add del ord">
        <pc:chgData name="Raphaella ASHRAF" userId="5247841d-d595-4c30-b58a-9906097315c5" providerId="ADAL" clId="{49E1EDC4-949C-4C9A-9207-A653EB98B0DF}" dt="2024-11-19T09:14:13.499" v="4766" actId="47"/>
        <pc:sldMkLst>
          <pc:docMk/>
          <pc:sldMk cId="757364926" sldId="2147475660"/>
        </pc:sldMkLst>
      </pc:sldChg>
      <pc:sldChg chg="add del ord">
        <pc:chgData name="Raphaella ASHRAF" userId="5247841d-d595-4c30-b58a-9906097315c5" providerId="ADAL" clId="{49E1EDC4-949C-4C9A-9207-A653EB98B0DF}" dt="2024-11-19T09:14:13.499" v="4766" actId="47"/>
        <pc:sldMkLst>
          <pc:docMk/>
          <pc:sldMk cId="899772698" sldId="2147475661"/>
        </pc:sldMkLst>
      </pc:sldChg>
      <pc:sldChg chg="add del ord">
        <pc:chgData name="Raphaella ASHRAF" userId="5247841d-d595-4c30-b58a-9906097315c5" providerId="ADAL" clId="{49E1EDC4-949C-4C9A-9207-A653EB98B0DF}" dt="2024-11-19T09:14:13.499" v="4766" actId="47"/>
        <pc:sldMkLst>
          <pc:docMk/>
          <pc:sldMk cId="423705817" sldId="2147475662"/>
        </pc:sldMkLst>
      </pc:sldChg>
      <pc:sldChg chg="add del ord">
        <pc:chgData name="Raphaella ASHRAF" userId="5247841d-d595-4c30-b58a-9906097315c5" providerId="ADAL" clId="{49E1EDC4-949C-4C9A-9207-A653EB98B0DF}" dt="2024-11-19T09:14:13.499" v="4766" actId="47"/>
        <pc:sldMkLst>
          <pc:docMk/>
          <pc:sldMk cId="3264798329" sldId="2147475663"/>
        </pc:sldMkLst>
      </pc:sldChg>
      <pc:sldChg chg="add del ord">
        <pc:chgData name="Raphaella ASHRAF" userId="5247841d-d595-4c30-b58a-9906097315c5" providerId="ADAL" clId="{49E1EDC4-949C-4C9A-9207-A653EB98B0DF}" dt="2024-11-19T09:14:13.499" v="4766" actId="47"/>
        <pc:sldMkLst>
          <pc:docMk/>
          <pc:sldMk cId="3377839553" sldId="2147475664"/>
        </pc:sldMkLst>
      </pc:sldChg>
      <pc:sldChg chg="add del ord">
        <pc:chgData name="Raphaella ASHRAF" userId="5247841d-d595-4c30-b58a-9906097315c5" providerId="ADAL" clId="{49E1EDC4-949C-4C9A-9207-A653EB98B0DF}" dt="2024-11-19T09:14:13.499" v="4766" actId="47"/>
        <pc:sldMkLst>
          <pc:docMk/>
          <pc:sldMk cId="1348000585" sldId="2147475665"/>
        </pc:sldMkLst>
      </pc:sldChg>
      <pc:sldChg chg="add del ord">
        <pc:chgData name="Raphaella ASHRAF" userId="5247841d-d595-4c30-b58a-9906097315c5" providerId="ADAL" clId="{49E1EDC4-949C-4C9A-9207-A653EB98B0DF}" dt="2024-11-19T09:14:13.499" v="4766" actId="47"/>
        <pc:sldMkLst>
          <pc:docMk/>
          <pc:sldMk cId="2897523579" sldId="2147475666"/>
        </pc:sldMkLst>
      </pc:sldChg>
      <pc:sldChg chg="add del ord">
        <pc:chgData name="Raphaella ASHRAF" userId="5247841d-d595-4c30-b58a-9906097315c5" providerId="ADAL" clId="{49E1EDC4-949C-4C9A-9207-A653EB98B0DF}" dt="2024-11-19T09:14:13.499" v="4766" actId="47"/>
        <pc:sldMkLst>
          <pc:docMk/>
          <pc:sldMk cId="395258901" sldId="2147475667"/>
        </pc:sldMkLst>
      </pc:sldChg>
      <pc:sldChg chg="add del ord">
        <pc:chgData name="Raphaella ASHRAF" userId="5247841d-d595-4c30-b58a-9906097315c5" providerId="ADAL" clId="{49E1EDC4-949C-4C9A-9207-A653EB98B0DF}" dt="2024-11-19T09:14:13.499" v="4766" actId="47"/>
        <pc:sldMkLst>
          <pc:docMk/>
          <pc:sldMk cId="4212562802" sldId="2147475668"/>
        </pc:sldMkLst>
      </pc:sldChg>
      <pc:sldChg chg="add del ord">
        <pc:chgData name="Raphaella ASHRAF" userId="5247841d-d595-4c30-b58a-9906097315c5" providerId="ADAL" clId="{49E1EDC4-949C-4C9A-9207-A653EB98B0DF}" dt="2024-11-19T09:14:13.499" v="4766" actId="47"/>
        <pc:sldMkLst>
          <pc:docMk/>
          <pc:sldMk cId="4185772674" sldId="2147475669"/>
        </pc:sldMkLst>
      </pc:sldChg>
      <pc:sldChg chg="add del ord">
        <pc:chgData name="Raphaella ASHRAF" userId="5247841d-d595-4c30-b58a-9906097315c5" providerId="ADAL" clId="{49E1EDC4-949C-4C9A-9207-A653EB98B0DF}" dt="2024-11-19T09:14:13.499" v="4766" actId="47"/>
        <pc:sldMkLst>
          <pc:docMk/>
          <pc:sldMk cId="2990967244" sldId="2147475670"/>
        </pc:sldMkLst>
      </pc:sldChg>
      <pc:sldChg chg="add del ord">
        <pc:chgData name="Raphaella ASHRAF" userId="5247841d-d595-4c30-b58a-9906097315c5" providerId="ADAL" clId="{49E1EDC4-949C-4C9A-9207-A653EB98B0DF}" dt="2024-11-19T09:14:13.499" v="4766" actId="47"/>
        <pc:sldMkLst>
          <pc:docMk/>
          <pc:sldMk cId="3204521390" sldId="2147475671"/>
        </pc:sldMkLst>
      </pc:sldChg>
      <pc:sldChg chg="add del ord">
        <pc:chgData name="Raphaella ASHRAF" userId="5247841d-d595-4c30-b58a-9906097315c5" providerId="ADAL" clId="{49E1EDC4-949C-4C9A-9207-A653EB98B0DF}" dt="2024-11-19T09:14:13.499" v="4766" actId="47"/>
        <pc:sldMkLst>
          <pc:docMk/>
          <pc:sldMk cId="2537950985" sldId="2147475672"/>
        </pc:sldMkLst>
      </pc:sldChg>
      <pc:sldChg chg="add del ord">
        <pc:chgData name="Raphaella ASHRAF" userId="5247841d-d595-4c30-b58a-9906097315c5" providerId="ADAL" clId="{49E1EDC4-949C-4C9A-9207-A653EB98B0DF}" dt="2024-11-19T09:14:13.499" v="4766" actId="47"/>
        <pc:sldMkLst>
          <pc:docMk/>
          <pc:sldMk cId="373174359" sldId="2147475673"/>
        </pc:sldMkLst>
      </pc:sldChg>
      <pc:sldChg chg="add del ord">
        <pc:chgData name="Raphaella ASHRAF" userId="5247841d-d595-4c30-b58a-9906097315c5" providerId="ADAL" clId="{49E1EDC4-949C-4C9A-9207-A653EB98B0DF}" dt="2024-11-19T09:14:13.499" v="4766" actId="47"/>
        <pc:sldMkLst>
          <pc:docMk/>
          <pc:sldMk cId="336000695" sldId="2147475674"/>
        </pc:sldMkLst>
      </pc:sldChg>
      <pc:sldChg chg="add del ord">
        <pc:chgData name="Raphaella ASHRAF" userId="5247841d-d595-4c30-b58a-9906097315c5" providerId="ADAL" clId="{49E1EDC4-949C-4C9A-9207-A653EB98B0DF}" dt="2024-11-19T09:14:13.499" v="4766" actId="47"/>
        <pc:sldMkLst>
          <pc:docMk/>
          <pc:sldMk cId="1384342745" sldId="2147475675"/>
        </pc:sldMkLst>
      </pc:sldChg>
      <pc:sldChg chg="add del ord">
        <pc:chgData name="Raphaella ASHRAF" userId="5247841d-d595-4c30-b58a-9906097315c5" providerId="ADAL" clId="{49E1EDC4-949C-4C9A-9207-A653EB98B0DF}" dt="2024-11-19T09:14:13.499" v="4766" actId="47"/>
        <pc:sldMkLst>
          <pc:docMk/>
          <pc:sldMk cId="1025844467" sldId="2147475676"/>
        </pc:sldMkLst>
      </pc:sldChg>
      <pc:sldChg chg="add del ord">
        <pc:chgData name="Raphaella ASHRAF" userId="5247841d-d595-4c30-b58a-9906097315c5" providerId="ADAL" clId="{49E1EDC4-949C-4C9A-9207-A653EB98B0DF}" dt="2024-11-19T09:14:13.499" v="4766" actId="47"/>
        <pc:sldMkLst>
          <pc:docMk/>
          <pc:sldMk cId="2236854137" sldId="2147475677"/>
        </pc:sldMkLst>
      </pc:sldChg>
      <pc:sldChg chg="add del ord">
        <pc:chgData name="Raphaella ASHRAF" userId="5247841d-d595-4c30-b58a-9906097315c5" providerId="ADAL" clId="{49E1EDC4-949C-4C9A-9207-A653EB98B0DF}" dt="2024-11-19T09:14:13.499" v="4766" actId="47"/>
        <pc:sldMkLst>
          <pc:docMk/>
          <pc:sldMk cId="3566595303" sldId="2147475678"/>
        </pc:sldMkLst>
      </pc:sldChg>
      <pc:sldChg chg="add del ord">
        <pc:chgData name="Raphaella ASHRAF" userId="5247841d-d595-4c30-b58a-9906097315c5" providerId="ADAL" clId="{49E1EDC4-949C-4C9A-9207-A653EB98B0DF}" dt="2024-11-19T09:14:13.499" v="4766" actId="47"/>
        <pc:sldMkLst>
          <pc:docMk/>
          <pc:sldMk cId="3233902208" sldId="2147475679"/>
        </pc:sldMkLst>
      </pc:sldChg>
      <pc:sldChg chg="add del ord">
        <pc:chgData name="Raphaella ASHRAF" userId="5247841d-d595-4c30-b58a-9906097315c5" providerId="ADAL" clId="{49E1EDC4-949C-4C9A-9207-A653EB98B0DF}" dt="2024-11-19T09:14:13.499" v="4766" actId="47"/>
        <pc:sldMkLst>
          <pc:docMk/>
          <pc:sldMk cId="4248943008" sldId="2147475680"/>
        </pc:sldMkLst>
      </pc:sldChg>
      <pc:sldChg chg="add del ord">
        <pc:chgData name="Raphaella ASHRAF" userId="5247841d-d595-4c30-b58a-9906097315c5" providerId="ADAL" clId="{49E1EDC4-949C-4C9A-9207-A653EB98B0DF}" dt="2024-11-19T09:14:13.499" v="4766" actId="47"/>
        <pc:sldMkLst>
          <pc:docMk/>
          <pc:sldMk cId="4017708091" sldId="2147475681"/>
        </pc:sldMkLst>
      </pc:sldChg>
      <pc:sldChg chg="add del ord">
        <pc:chgData name="Raphaella ASHRAF" userId="5247841d-d595-4c30-b58a-9906097315c5" providerId="ADAL" clId="{49E1EDC4-949C-4C9A-9207-A653EB98B0DF}" dt="2024-11-19T09:14:13.499" v="4766" actId="47"/>
        <pc:sldMkLst>
          <pc:docMk/>
          <pc:sldMk cId="4091685370" sldId="2147475682"/>
        </pc:sldMkLst>
      </pc:sldChg>
      <pc:sldChg chg="add del ord">
        <pc:chgData name="Raphaella ASHRAF" userId="5247841d-d595-4c30-b58a-9906097315c5" providerId="ADAL" clId="{49E1EDC4-949C-4C9A-9207-A653EB98B0DF}" dt="2024-11-19T09:14:13.499" v="4766" actId="47"/>
        <pc:sldMkLst>
          <pc:docMk/>
          <pc:sldMk cId="2150845965" sldId="2147475683"/>
        </pc:sldMkLst>
      </pc:sldChg>
      <pc:sldChg chg="add del ord">
        <pc:chgData name="Raphaella ASHRAF" userId="5247841d-d595-4c30-b58a-9906097315c5" providerId="ADAL" clId="{49E1EDC4-949C-4C9A-9207-A653EB98B0DF}" dt="2024-11-19T09:14:13.499" v="4766" actId="47"/>
        <pc:sldMkLst>
          <pc:docMk/>
          <pc:sldMk cId="3703032868" sldId="2147475684"/>
        </pc:sldMkLst>
      </pc:sldChg>
      <pc:sldChg chg="add del ord">
        <pc:chgData name="Raphaella ASHRAF" userId="5247841d-d595-4c30-b58a-9906097315c5" providerId="ADAL" clId="{49E1EDC4-949C-4C9A-9207-A653EB98B0DF}" dt="2024-11-19T09:14:13.499" v="4766" actId="47"/>
        <pc:sldMkLst>
          <pc:docMk/>
          <pc:sldMk cId="1799578801" sldId="2147475685"/>
        </pc:sldMkLst>
      </pc:sldChg>
      <pc:sldChg chg="add del ord">
        <pc:chgData name="Raphaella ASHRAF" userId="5247841d-d595-4c30-b58a-9906097315c5" providerId="ADAL" clId="{49E1EDC4-949C-4C9A-9207-A653EB98B0DF}" dt="2024-11-19T09:14:13.499" v="4766" actId="47"/>
        <pc:sldMkLst>
          <pc:docMk/>
          <pc:sldMk cId="2452280898" sldId="2147475686"/>
        </pc:sldMkLst>
      </pc:sldChg>
      <pc:sldChg chg="add del ord">
        <pc:chgData name="Raphaella ASHRAF" userId="5247841d-d595-4c30-b58a-9906097315c5" providerId="ADAL" clId="{49E1EDC4-949C-4C9A-9207-A653EB98B0DF}" dt="2024-11-19T09:14:13.499" v="4766" actId="47"/>
        <pc:sldMkLst>
          <pc:docMk/>
          <pc:sldMk cId="166224506" sldId="2147475687"/>
        </pc:sldMkLst>
      </pc:sldChg>
      <pc:sldChg chg="add del ord">
        <pc:chgData name="Raphaella ASHRAF" userId="5247841d-d595-4c30-b58a-9906097315c5" providerId="ADAL" clId="{49E1EDC4-949C-4C9A-9207-A653EB98B0DF}" dt="2024-11-19T09:14:13.499" v="4766" actId="47"/>
        <pc:sldMkLst>
          <pc:docMk/>
          <pc:sldMk cId="69829702" sldId="2147475688"/>
        </pc:sldMkLst>
      </pc:sldChg>
      <pc:sldChg chg="add del ord">
        <pc:chgData name="Raphaella ASHRAF" userId="5247841d-d595-4c30-b58a-9906097315c5" providerId="ADAL" clId="{49E1EDC4-949C-4C9A-9207-A653EB98B0DF}" dt="2024-11-19T09:14:13.499" v="4766" actId="47"/>
        <pc:sldMkLst>
          <pc:docMk/>
          <pc:sldMk cId="1244612827" sldId="2147475689"/>
        </pc:sldMkLst>
      </pc:sldChg>
      <pc:sldChg chg="add del ord">
        <pc:chgData name="Raphaella ASHRAF" userId="5247841d-d595-4c30-b58a-9906097315c5" providerId="ADAL" clId="{49E1EDC4-949C-4C9A-9207-A653EB98B0DF}" dt="2024-11-19T09:14:13.499" v="4766" actId="47"/>
        <pc:sldMkLst>
          <pc:docMk/>
          <pc:sldMk cId="2338361719" sldId="2147475690"/>
        </pc:sldMkLst>
      </pc:sldChg>
      <pc:sldChg chg="add del ord">
        <pc:chgData name="Raphaella ASHRAF" userId="5247841d-d595-4c30-b58a-9906097315c5" providerId="ADAL" clId="{49E1EDC4-949C-4C9A-9207-A653EB98B0DF}" dt="2024-11-19T09:14:13.499" v="4766" actId="47"/>
        <pc:sldMkLst>
          <pc:docMk/>
          <pc:sldMk cId="4134335056" sldId="2147475691"/>
        </pc:sldMkLst>
      </pc:sldChg>
      <pc:sldChg chg="add del ord">
        <pc:chgData name="Raphaella ASHRAF" userId="5247841d-d595-4c30-b58a-9906097315c5" providerId="ADAL" clId="{49E1EDC4-949C-4C9A-9207-A653EB98B0DF}" dt="2024-11-19T09:14:13.499" v="4766" actId="47"/>
        <pc:sldMkLst>
          <pc:docMk/>
          <pc:sldMk cId="4066958249" sldId="2147475692"/>
        </pc:sldMkLst>
      </pc:sldChg>
      <pc:sldChg chg="add del ord">
        <pc:chgData name="Raphaella ASHRAF" userId="5247841d-d595-4c30-b58a-9906097315c5" providerId="ADAL" clId="{49E1EDC4-949C-4C9A-9207-A653EB98B0DF}" dt="2024-11-19T09:14:13.499" v="4766" actId="47"/>
        <pc:sldMkLst>
          <pc:docMk/>
          <pc:sldMk cId="1227370348" sldId="2147475693"/>
        </pc:sldMkLst>
      </pc:sldChg>
      <pc:sldChg chg="add del ord">
        <pc:chgData name="Raphaella ASHRAF" userId="5247841d-d595-4c30-b58a-9906097315c5" providerId="ADAL" clId="{49E1EDC4-949C-4C9A-9207-A653EB98B0DF}" dt="2024-11-19T09:14:13.499" v="4766" actId="47"/>
        <pc:sldMkLst>
          <pc:docMk/>
          <pc:sldMk cId="3962305158" sldId="2147475694"/>
        </pc:sldMkLst>
      </pc:sldChg>
      <pc:sldChg chg="add del ord">
        <pc:chgData name="Raphaella ASHRAF" userId="5247841d-d595-4c30-b58a-9906097315c5" providerId="ADAL" clId="{49E1EDC4-949C-4C9A-9207-A653EB98B0DF}" dt="2024-11-19T09:14:13.499" v="4766" actId="47"/>
        <pc:sldMkLst>
          <pc:docMk/>
          <pc:sldMk cId="1875442696" sldId="2147475695"/>
        </pc:sldMkLst>
      </pc:sldChg>
      <pc:sldChg chg="add del ord">
        <pc:chgData name="Raphaella ASHRAF" userId="5247841d-d595-4c30-b58a-9906097315c5" providerId="ADAL" clId="{49E1EDC4-949C-4C9A-9207-A653EB98B0DF}" dt="2024-11-19T09:14:13.499" v="4766" actId="47"/>
        <pc:sldMkLst>
          <pc:docMk/>
          <pc:sldMk cId="197096838" sldId="2147475696"/>
        </pc:sldMkLst>
      </pc:sldChg>
      <pc:sldChg chg="add del ord">
        <pc:chgData name="Raphaella ASHRAF" userId="5247841d-d595-4c30-b58a-9906097315c5" providerId="ADAL" clId="{49E1EDC4-949C-4C9A-9207-A653EB98B0DF}" dt="2024-11-19T09:14:13.499" v="4766" actId="47"/>
        <pc:sldMkLst>
          <pc:docMk/>
          <pc:sldMk cId="265855168" sldId="2147475697"/>
        </pc:sldMkLst>
      </pc:sldChg>
      <pc:sldChg chg="add del ord">
        <pc:chgData name="Raphaella ASHRAF" userId="5247841d-d595-4c30-b58a-9906097315c5" providerId="ADAL" clId="{49E1EDC4-949C-4C9A-9207-A653EB98B0DF}" dt="2024-11-19T09:14:13.499" v="4766" actId="47"/>
        <pc:sldMkLst>
          <pc:docMk/>
          <pc:sldMk cId="485236811" sldId="2147475698"/>
        </pc:sldMkLst>
      </pc:sldChg>
      <pc:sldChg chg="add del ord">
        <pc:chgData name="Raphaella ASHRAF" userId="5247841d-d595-4c30-b58a-9906097315c5" providerId="ADAL" clId="{49E1EDC4-949C-4C9A-9207-A653EB98B0DF}" dt="2024-11-19T09:14:13.499" v="4766" actId="47"/>
        <pc:sldMkLst>
          <pc:docMk/>
          <pc:sldMk cId="2892227392" sldId="2147475699"/>
        </pc:sldMkLst>
      </pc:sldChg>
      <pc:sldChg chg="add del ord">
        <pc:chgData name="Raphaella ASHRAF" userId="5247841d-d595-4c30-b58a-9906097315c5" providerId="ADAL" clId="{49E1EDC4-949C-4C9A-9207-A653EB98B0DF}" dt="2024-11-19T09:14:13.499" v="4766" actId="47"/>
        <pc:sldMkLst>
          <pc:docMk/>
          <pc:sldMk cId="3916321457" sldId="2147475700"/>
        </pc:sldMkLst>
      </pc:sldChg>
      <pc:sldChg chg="add del ord">
        <pc:chgData name="Raphaella ASHRAF" userId="5247841d-d595-4c30-b58a-9906097315c5" providerId="ADAL" clId="{49E1EDC4-949C-4C9A-9207-A653EB98B0DF}" dt="2024-11-19T09:14:13.499" v="4766" actId="47"/>
        <pc:sldMkLst>
          <pc:docMk/>
          <pc:sldMk cId="1910026990" sldId="2147475701"/>
        </pc:sldMkLst>
      </pc:sldChg>
      <pc:sldChg chg="add del ord">
        <pc:chgData name="Raphaella ASHRAF" userId="5247841d-d595-4c30-b58a-9906097315c5" providerId="ADAL" clId="{49E1EDC4-949C-4C9A-9207-A653EB98B0DF}" dt="2024-11-19T09:14:13.499" v="4766" actId="47"/>
        <pc:sldMkLst>
          <pc:docMk/>
          <pc:sldMk cId="1107570218" sldId="2147475702"/>
        </pc:sldMkLst>
      </pc:sldChg>
      <pc:sldChg chg="add del ord">
        <pc:chgData name="Raphaella ASHRAF" userId="5247841d-d595-4c30-b58a-9906097315c5" providerId="ADAL" clId="{49E1EDC4-949C-4C9A-9207-A653EB98B0DF}" dt="2024-11-19T09:14:13.499" v="4766" actId="47"/>
        <pc:sldMkLst>
          <pc:docMk/>
          <pc:sldMk cId="1124385631" sldId="2147475703"/>
        </pc:sldMkLst>
      </pc:sldChg>
      <pc:sldChg chg="add del ord">
        <pc:chgData name="Raphaella ASHRAF" userId="5247841d-d595-4c30-b58a-9906097315c5" providerId="ADAL" clId="{49E1EDC4-949C-4C9A-9207-A653EB98B0DF}" dt="2024-11-19T09:14:13.499" v="4766" actId="47"/>
        <pc:sldMkLst>
          <pc:docMk/>
          <pc:sldMk cId="865062815" sldId="2147475704"/>
        </pc:sldMkLst>
      </pc:sldChg>
      <pc:sldChg chg="add del ord">
        <pc:chgData name="Raphaella ASHRAF" userId="5247841d-d595-4c30-b58a-9906097315c5" providerId="ADAL" clId="{49E1EDC4-949C-4C9A-9207-A653EB98B0DF}" dt="2024-11-19T09:14:13.499" v="4766" actId="47"/>
        <pc:sldMkLst>
          <pc:docMk/>
          <pc:sldMk cId="3566053819" sldId="2147475705"/>
        </pc:sldMkLst>
      </pc:sldChg>
      <pc:sldChg chg="add del ord">
        <pc:chgData name="Raphaella ASHRAF" userId="5247841d-d595-4c30-b58a-9906097315c5" providerId="ADAL" clId="{49E1EDC4-949C-4C9A-9207-A653EB98B0DF}" dt="2024-11-19T09:14:13.499" v="4766" actId="47"/>
        <pc:sldMkLst>
          <pc:docMk/>
          <pc:sldMk cId="427903116" sldId="2147475706"/>
        </pc:sldMkLst>
      </pc:sldChg>
      <pc:sldChg chg="add del ord">
        <pc:chgData name="Raphaella ASHRAF" userId="5247841d-d595-4c30-b58a-9906097315c5" providerId="ADAL" clId="{49E1EDC4-949C-4C9A-9207-A653EB98B0DF}" dt="2024-11-19T09:14:13.499" v="4766" actId="47"/>
        <pc:sldMkLst>
          <pc:docMk/>
          <pc:sldMk cId="788629106" sldId="2147475707"/>
        </pc:sldMkLst>
      </pc:sldChg>
      <pc:sldChg chg="add del ord">
        <pc:chgData name="Raphaella ASHRAF" userId="5247841d-d595-4c30-b58a-9906097315c5" providerId="ADAL" clId="{49E1EDC4-949C-4C9A-9207-A653EB98B0DF}" dt="2024-11-19T09:14:13.499" v="4766" actId="47"/>
        <pc:sldMkLst>
          <pc:docMk/>
          <pc:sldMk cId="1350855170" sldId="2147475708"/>
        </pc:sldMkLst>
      </pc:sldChg>
      <pc:sldChg chg="add del ord">
        <pc:chgData name="Raphaella ASHRAF" userId="5247841d-d595-4c30-b58a-9906097315c5" providerId="ADAL" clId="{49E1EDC4-949C-4C9A-9207-A653EB98B0DF}" dt="2024-11-19T09:14:13.499" v="4766" actId="47"/>
        <pc:sldMkLst>
          <pc:docMk/>
          <pc:sldMk cId="1030123743" sldId="2147475709"/>
        </pc:sldMkLst>
      </pc:sldChg>
      <pc:sldChg chg="add del ord">
        <pc:chgData name="Raphaella ASHRAF" userId="5247841d-d595-4c30-b58a-9906097315c5" providerId="ADAL" clId="{49E1EDC4-949C-4C9A-9207-A653EB98B0DF}" dt="2024-11-19T09:14:13.499" v="4766" actId="47"/>
        <pc:sldMkLst>
          <pc:docMk/>
          <pc:sldMk cId="3543972392" sldId="2147475710"/>
        </pc:sldMkLst>
      </pc:sldChg>
      <pc:sldChg chg="add del ord">
        <pc:chgData name="Raphaella ASHRAF" userId="5247841d-d595-4c30-b58a-9906097315c5" providerId="ADAL" clId="{49E1EDC4-949C-4C9A-9207-A653EB98B0DF}" dt="2024-11-19T09:14:13.499" v="4766" actId="47"/>
        <pc:sldMkLst>
          <pc:docMk/>
          <pc:sldMk cId="3369150026" sldId="2147475711"/>
        </pc:sldMkLst>
      </pc:sldChg>
      <pc:sldChg chg="add del ord">
        <pc:chgData name="Raphaella ASHRAF" userId="5247841d-d595-4c30-b58a-9906097315c5" providerId="ADAL" clId="{49E1EDC4-949C-4C9A-9207-A653EB98B0DF}" dt="2024-11-19T09:14:13.499" v="4766" actId="47"/>
        <pc:sldMkLst>
          <pc:docMk/>
          <pc:sldMk cId="658856776" sldId="2147475712"/>
        </pc:sldMkLst>
      </pc:sldChg>
      <pc:sldChg chg="add del ord">
        <pc:chgData name="Raphaella ASHRAF" userId="5247841d-d595-4c30-b58a-9906097315c5" providerId="ADAL" clId="{49E1EDC4-949C-4C9A-9207-A653EB98B0DF}" dt="2024-11-19T09:14:13.499" v="4766" actId="47"/>
        <pc:sldMkLst>
          <pc:docMk/>
          <pc:sldMk cId="4033968309" sldId="2147475713"/>
        </pc:sldMkLst>
      </pc:sldChg>
      <pc:sldChg chg="add del ord">
        <pc:chgData name="Raphaella ASHRAF" userId="5247841d-d595-4c30-b58a-9906097315c5" providerId="ADAL" clId="{49E1EDC4-949C-4C9A-9207-A653EB98B0DF}" dt="2024-11-19T09:14:13.499" v="4766" actId="47"/>
        <pc:sldMkLst>
          <pc:docMk/>
          <pc:sldMk cId="2040775880" sldId="2147475714"/>
        </pc:sldMkLst>
      </pc:sldChg>
      <pc:sldChg chg="add del ord">
        <pc:chgData name="Raphaella ASHRAF" userId="5247841d-d595-4c30-b58a-9906097315c5" providerId="ADAL" clId="{49E1EDC4-949C-4C9A-9207-A653EB98B0DF}" dt="2024-11-19T09:14:13.499" v="4766" actId="47"/>
        <pc:sldMkLst>
          <pc:docMk/>
          <pc:sldMk cId="3755149367" sldId="2147475715"/>
        </pc:sldMkLst>
      </pc:sldChg>
      <pc:sldChg chg="add del ord">
        <pc:chgData name="Raphaella ASHRAF" userId="5247841d-d595-4c30-b58a-9906097315c5" providerId="ADAL" clId="{49E1EDC4-949C-4C9A-9207-A653EB98B0DF}" dt="2024-11-19T09:14:13.499" v="4766" actId="47"/>
        <pc:sldMkLst>
          <pc:docMk/>
          <pc:sldMk cId="3936613263" sldId="2147475716"/>
        </pc:sldMkLst>
      </pc:sldChg>
      <pc:sldChg chg="add del ord">
        <pc:chgData name="Raphaella ASHRAF" userId="5247841d-d595-4c30-b58a-9906097315c5" providerId="ADAL" clId="{49E1EDC4-949C-4C9A-9207-A653EB98B0DF}" dt="2024-11-19T09:14:13.499" v="4766" actId="47"/>
        <pc:sldMkLst>
          <pc:docMk/>
          <pc:sldMk cId="1497510910" sldId="2147475717"/>
        </pc:sldMkLst>
      </pc:sldChg>
      <pc:sldChg chg="add del ord">
        <pc:chgData name="Raphaella ASHRAF" userId="5247841d-d595-4c30-b58a-9906097315c5" providerId="ADAL" clId="{49E1EDC4-949C-4C9A-9207-A653EB98B0DF}" dt="2024-11-19T09:14:13.499" v="4766" actId="47"/>
        <pc:sldMkLst>
          <pc:docMk/>
          <pc:sldMk cId="2347061069" sldId="2147475718"/>
        </pc:sldMkLst>
      </pc:sldChg>
      <pc:sldChg chg="add del ord">
        <pc:chgData name="Raphaella ASHRAF" userId="5247841d-d595-4c30-b58a-9906097315c5" providerId="ADAL" clId="{49E1EDC4-949C-4C9A-9207-A653EB98B0DF}" dt="2024-11-19T09:14:13.499" v="4766" actId="47"/>
        <pc:sldMkLst>
          <pc:docMk/>
          <pc:sldMk cId="1845146252" sldId="2147475719"/>
        </pc:sldMkLst>
      </pc:sldChg>
      <pc:sldChg chg="add del ord">
        <pc:chgData name="Raphaella ASHRAF" userId="5247841d-d595-4c30-b58a-9906097315c5" providerId="ADAL" clId="{49E1EDC4-949C-4C9A-9207-A653EB98B0DF}" dt="2024-11-19T09:14:13.499" v="4766" actId="47"/>
        <pc:sldMkLst>
          <pc:docMk/>
          <pc:sldMk cId="1576000833" sldId="2147475720"/>
        </pc:sldMkLst>
      </pc:sldChg>
      <pc:sldChg chg="add del ord">
        <pc:chgData name="Raphaella ASHRAF" userId="5247841d-d595-4c30-b58a-9906097315c5" providerId="ADAL" clId="{49E1EDC4-949C-4C9A-9207-A653EB98B0DF}" dt="2024-11-19T09:14:13.499" v="4766" actId="47"/>
        <pc:sldMkLst>
          <pc:docMk/>
          <pc:sldMk cId="3472472076" sldId="2147475721"/>
        </pc:sldMkLst>
      </pc:sldChg>
      <pc:sldChg chg="add del ord">
        <pc:chgData name="Raphaella ASHRAF" userId="5247841d-d595-4c30-b58a-9906097315c5" providerId="ADAL" clId="{49E1EDC4-949C-4C9A-9207-A653EB98B0DF}" dt="2024-11-19T09:14:13.499" v="4766" actId="47"/>
        <pc:sldMkLst>
          <pc:docMk/>
          <pc:sldMk cId="2203822770" sldId="2147475722"/>
        </pc:sldMkLst>
      </pc:sldChg>
      <pc:sldChg chg="add del ord">
        <pc:chgData name="Raphaella ASHRAF" userId="5247841d-d595-4c30-b58a-9906097315c5" providerId="ADAL" clId="{49E1EDC4-949C-4C9A-9207-A653EB98B0DF}" dt="2024-11-19T09:14:13.499" v="4766" actId="47"/>
        <pc:sldMkLst>
          <pc:docMk/>
          <pc:sldMk cId="2958219394" sldId="2147475723"/>
        </pc:sldMkLst>
      </pc:sldChg>
      <pc:sldChg chg="add del ord">
        <pc:chgData name="Raphaella ASHRAF" userId="5247841d-d595-4c30-b58a-9906097315c5" providerId="ADAL" clId="{49E1EDC4-949C-4C9A-9207-A653EB98B0DF}" dt="2024-11-19T09:14:13.499" v="4766" actId="47"/>
        <pc:sldMkLst>
          <pc:docMk/>
          <pc:sldMk cId="1284652677" sldId="2147475724"/>
        </pc:sldMkLst>
      </pc:sldChg>
      <pc:sldChg chg="add del ord">
        <pc:chgData name="Raphaella ASHRAF" userId="5247841d-d595-4c30-b58a-9906097315c5" providerId="ADAL" clId="{49E1EDC4-949C-4C9A-9207-A653EB98B0DF}" dt="2024-11-19T09:14:13.499" v="4766" actId="47"/>
        <pc:sldMkLst>
          <pc:docMk/>
          <pc:sldMk cId="2532839833" sldId="2147475725"/>
        </pc:sldMkLst>
      </pc:sldChg>
      <pc:sldChg chg="add del ord">
        <pc:chgData name="Raphaella ASHRAF" userId="5247841d-d595-4c30-b58a-9906097315c5" providerId="ADAL" clId="{49E1EDC4-949C-4C9A-9207-A653EB98B0DF}" dt="2024-11-19T09:14:13.499" v="4766" actId="47"/>
        <pc:sldMkLst>
          <pc:docMk/>
          <pc:sldMk cId="2286953757" sldId="2147475726"/>
        </pc:sldMkLst>
      </pc:sldChg>
      <pc:sldChg chg="add del ord">
        <pc:chgData name="Raphaella ASHRAF" userId="5247841d-d595-4c30-b58a-9906097315c5" providerId="ADAL" clId="{49E1EDC4-949C-4C9A-9207-A653EB98B0DF}" dt="2024-11-19T09:14:13.499" v="4766" actId="47"/>
        <pc:sldMkLst>
          <pc:docMk/>
          <pc:sldMk cId="1689458136" sldId="2147475727"/>
        </pc:sldMkLst>
      </pc:sldChg>
      <pc:sldChg chg="add del ord">
        <pc:chgData name="Raphaella ASHRAF" userId="5247841d-d595-4c30-b58a-9906097315c5" providerId="ADAL" clId="{49E1EDC4-949C-4C9A-9207-A653EB98B0DF}" dt="2024-11-19T09:14:13.499" v="4766" actId="47"/>
        <pc:sldMkLst>
          <pc:docMk/>
          <pc:sldMk cId="2576724529" sldId="2147475728"/>
        </pc:sldMkLst>
      </pc:sldChg>
      <pc:sldChg chg="add del ord">
        <pc:chgData name="Raphaella ASHRAF" userId="5247841d-d595-4c30-b58a-9906097315c5" providerId="ADAL" clId="{49E1EDC4-949C-4C9A-9207-A653EB98B0DF}" dt="2024-11-19T09:14:13.499" v="4766" actId="47"/>
        <pc:sldMkLst>
          <pc:docMk/>
          <pc:sldMk cId="3934562571" sldId="2147475729"/>
        </pc:sldMkLst>
      </pc:sldChg>
      <pc:sldChg chg="add del ord">
        <pc:chgData name="Raphaella ASHRAF" userId="5247841d-d595-4c30-b58a-9906097315c5" providerId="ADAL" clId="{49E1EDC4-949C-4C9A-9207-A653EB98B0DF}" dt="2024-11-19T09:14:13.499" v="4766" actId="47"/>
        <pc:sldMkLst>
          <pc:docMk/>
          <pc:sldMk cId="234966345" sldId="2147475730"/>
        </pc:sldMkLst>
      </pc:sldChg>
      <pc:sldChg chg="add del ord">
        <pc:chgData name="Raphaella ASHRAF" userId="5247841d-d595-4c30-b58a-9906097315c5" providerId="ADAL" clId="{49E1EDC4-949C-4C9A-9207-A653EB98B0DF}" dt="2024-11-19T09:14:13.499" v="4766" actId="47"/>
        <pc:sldMkLst>
          <pc:docMk/>
          <pc:sldMk cId="2687968601" sldId="2147475731"/>
        </pc:sldMkLst>
      </pc:sldChg>
      <pc:sldChg chg="add del ord">
        <pc:chgData name="Raphaella ASHRAF" userId="5247841d-d595-4c30-b58a-9906097315c5" providerId="ADAL" clId="{49E1EDC4-949C-4C9A-9207-A653EB98B0DF}" dt="2024-11-19T09:14:13.499" v="4766" actId="47"/>
        <pc:sldMkLst>
          <pc:docMk/>
          <pc:sldMk cId="2747545178" sldId="2147475732"/>
        </pc:sldMkLst>
      </pc:sldChg>
      <pc:sldChg chg="add del ord">
        <pc:chgData name="Raphaella ASHRAF" userId="5247841d-d595-4c30-b58a-9906097315c5" providerId="ADAL" clId="{49E1EDC4-949C-4C9A-9207-A653EB98B0DF}" dt="2024-11-19T09:14:13.499" v="4766" actId="47"/>
        <pc:sldMkLst>
          <pc:docMk/>
          <pc:sldMk cId="2901479000" sldId="2147475733"/>
        </pc:sldMkLst>
      </pc:sldChg>
      <pc:sldChg chg="add del ord">
        <pc:chgData name="Raphaella ASHRAF" userId="5247841d-d595-4c30-b58a-9906097315c5" providerId="ADAL" clId="{49E1EDC4-949C-4C9A-9207-A653EB98B0DF}" dt="2024-11-19T09:14:13.499" v="4766" actId="47"/>
        <pc:sldMkLst>
          <pc:docMk/>
          <pc:sldMk cId="1478252317" sldId="2147475734"/>
        </pc:sldMkLst>
      </pc:sldChg>
      <pc:sldChg chg="add del ord">
        <pc:chgData name="Raphaella ASHRAF" userId="5247841d-d595-4c30-b58a-9906097315c5" providerId="ADAL" clId="{49E1EDC4-949C-4C9A-9207-A653EB98B0DF}" dt="2024-11-19T09:14:13.499" v="4766" actId="47"/>
        <pc:sldMkLst>
          <pc:docMk/>
          <pc:sldMk cId="2792843400" sldId="2147475735"/>
        </pc:sldMkLst>
      </pc:sldChg>
      <pc:sldChg chg="add del ord">
        <pc:chgData name="Raphaella ASHRAF" userId="5247841d-d595-4c30-b58a-9906097315c5" providerId="ADAL" clId="{49E1EDC4-949C-4C9A-9207-A653EB98B0DF}" dt="2024-11-19T09:14:13.499" v="4766" actId="47"/>
        <pc:sldMkLst>
          <pc:docMk/>
          <pc:sldMk cId="1365181350" sldId="2147475736"/>
        </pc:sldMkLst>
      </pc:sldChg>
      <pc:sldChg chg="add del ord">
        <pc:chgData name="Raphaella ASHRAF" userId="5247841d-d595-4c30-b58a-9906097315c5" providerId="ADAL" clId="{49E1EDC4-949C-4C9A-9207-A653EB98B0DF}" dt="2024-11-19T09:14:13.499" v="4766" actId="47"/>
        <pc:sldMkLst>
          <pc:docMk/>
          <pc:sldMk cId="1931383051" sldId="2147475737"/>
        </pc:sldMkLst>
      </pc:sldChg>
      <pc:sldChg chg="add del ord">
        <pc:chgData name="Raphaella ASHRAF" userId="5247841d-d595-4c30-b58a-9906097315c5" providerId="ADAL" clId="{49E1EDC4-949C-4C9A-9207-A653EB98B0DF}" dt="2024-11-19T09:14:13.499" v="4766" actId="47"/>
        <pc:sldMkLst>
          <pc:docMk/>
          <pc:sldMk cId="3882999515" sldId="2147475738"/>
        </pc:sldMkLst>
      </pc:sldChg>
      <pc:sldChg chg="add del ord">
        <pc:chgData name="Raphaella ASHRAF" userId="5247841d-d595-4c30-b58a-9906097315c5" providerId="ADAL" clId="{49E1EDC4-949C-4C9A-9207-A653EB98B0DF}" dt="2024-11-19T09:14:13.499" v="4766" actId="47"/>
        <pc:sldMkLst>
          <pc:docMk/>
          <pc:sldMk cId="866718460" sldId="2147475739"/>
        </pc:sldMkLst>
      </pc:sldChg>
      <pc:sldChg chg="add del ord">
        <pc:chgData name="Raphaella ASHRAF" userId="5247841d-d595-4c30-b58a-9906097315c5" providerId="ADAL" clId="{49E1EDC4-949C-4C9A-9207-A653EB98B0DF}" dt="2024-11-19T09:14:13.499" v="4766" actId="47"/>
        <pc:sldMkLst>
          <pc:docMk/>
          <pc:sldMk cId="3881923254" sldId="2147475740"/>
        </pc:sldMkLst>
      </pc:sldChg>
      <pc:sldChg chg="add del ord">
        <pc:chgData name="Raphaella ASHRAF" userId="5247841d-d595-4c30-b58a-9906097315c5" providerId="ADAL" clId="{49E1EDC4-949C-4C9A-9207-A653EB98B0DF}" dt="2024-11-19T09:14:13.499" v="4766" actId="47"/>
        <pc:sldMkLst>
          <pc:docMk/>
          <pc:sldMk cId="4224666805" sldId="2147475741"/>
        </pc:sldMkLst>
      </pc:sldChg>
      <pc:sldChg chg="add del ord">
        <pc:chgData name="Raphaella ASHRAF" userId="5247841d-d595-4c30-b58a-9906097315c5" providerId="ADAL" clId="{49E1EDC4-949C-4C9A-9207-A653EB98B0DF}" dt="2024-11-19T09:14:13.499" v="4766" actId="47"/>
        <pc:sldMkLst>
          <pc:docMk/>
          <pc:sldMk cId="1092209954" sldId="2147475742"/>
        </pc:sldMkLst>
      </pc:sldChg>
      <pc:sldChg chg="add del ord">
        <pc:chgData name="Raphaella ASHRAF" userId="5247841d-d595-4c30-b58a-9906097315c5" providerId="ADAL" clId="{49E1EDC4-949C-4C9A-9207-A653EB98B0DF}" dt="2024-11-19T09:14:13.499" v="4766" actId="47"/>
        <pc:sldMkLst>
          <pc:docMk/>
          <pc:sldMk cId="2594332495" sldId="2147475743"/>
        </pc:sldMkLst>
      </pc:sldChg>
      <pc:sldChg chg="add del ord">
        <pc:chgData name="Raphaella ASHRAF" userId="5247841d-d595-4c30-b58a-9906097315c5" providerId="ADAL" clId="{49E1EDC4-949C-4C9A-9207-A653EB98B0DF}" dt="2024-11-19T09:14:13.499" v="4766" actId="47"/>
        <pc:sldMkLst>
          <pc:docMk/>
          <pc:sldMk cId="2547067316" sldId="2147475744"/>
        </pc:sldMkLst>
      </pc:sldChg>
      <pc:sldChg chg="add del ord">
        <pc:chgData name="Raphaella ASHRAF" userId="5247841d-d595-4c30-b58a-9906097315c5" providerId="ADAL" clId="{49E1EDC4-949C-4C9A-9207-A653EB98B0DF}" dt="2024-11-19T09:14:13.499" v="4766" actId="47"/>
        <pc:sldMkLst>
          <pc:docMk/>
          <pc:sldMk cId="2679476915" sldId="2147475745"/>
        </pc:sldMkLst>
      </pc:sldChg>
      <pc:sldChg chg="add del ord">
        <pc:chgData name="Raphaella ASHRAF" userId="5247841d-d595-4c30-b58a-9906097315c5" providerId="ADAL" clId="{49E1EDC4-949C-4C9A-9207-A653EB98B0DF}" dt="2024-11-19T09:14:13.499" v="4766" actId="47"/>
        <pc:sldMkLst>
          <pc:docMk/>
          <pc:sldMk cId="3752850963" sldId="2147475746"/>
        </pc:sldMkLst>
      </pc:sldChg>
      <pc:sldChg chg="add del ord">
        <pc:chgData name="Raphaella ASHRAF" userId="5247841d-d595-4c30-b58a-9906097315c5" providerId="ADAL" clId="{49E1EDC4-949C-4C9A-9207-A653EB98B0DF}" dt="2024-11-19T09:14:13.499" v="4766" actId="47"/>
        <pc:sldMkLst>
          <pc:docMk/>
          <pc:sldMk cId="1305985825" sldId="2147475747"/>
        </pc:sldMkLst>
      </pc:sldChg>
      <pc:sldChg chg="add del ord">
        <pc:chgData name="Raphaella ASHRAF" userId="5247841d-d595-4c30-b58a-9906097315c5" providerId="ADAL" clId="{49E1EDC4-949C-4C9A-9207-A653EB98B0DF}" dt="2024-11-19T09:14:13.499" v="4766" actId="47"/>
        <pc:sldMkLst>
          <pc:docMk/>
          <pc:sldMk cId="3155986658" sldId="2147475748"/>
        </pc:sldMkLst>
      </pc:sldChg>
      <pc:sldChg chg="add del ord">
        <pc:chgData name="Raphaella ASHRAF" userId="5247841d-d595-4c30-b58a-9906097315c5" providerId="ADAL" clId="{49E1EDC4-949C-4C9A-9207-A653EB98B0DF}" dt="2024-11-19T09:14:13.499" v="4766" actId="47"/>
        <pc:sldMkLst>
          <pc:docMk/>
          <pc:sldMk cId="2798420108" sldId="2147475749"/>
        </pc:sldMkLst>
      </pc:sldChg>
      <pc:sldChg chg="add del ord">
        <pc:chgData name="Raphaella ASHRAF" userId="5247841d-d595-4c30-b58a-9906097315c5" providerId="ADAL" clId="{49E1EDC4-949C-4C9A-9207-A653EB98B0DF}" dt="2024-11-19T09:14:13.499" v="4766" actId="47"/>
        <pc:sldMkLst>
          <pc:docMk/>
          <pc:sldMk cId="1886507741" sldId="2147475750"/>
        </pc:sldMkLst>
      </pc:sldChg>
      <pc:sldChg chg="add del ord">
        <pc:chgData name="Raphaella ASHRAF" userId="5247841d-d595-4c30-b58a-9906097315c5" providerId="ADAL" clId="{49E1EDC4-949C-4C9A-9207-A653EB98B0DF}" dt="2024-11-19T09:14:13.499" v="4766" actId="47"/>
        <pc:sldMkLst>
          <pc:docMk/>
          <pc:sldMk cId="863609633" sldId="2147475751"/>
        </pc:sldMkLst>
      </pc:sldChg>
      <pc:sldChg chg="add del ord">
        <pc:chgData name="Raphaella ASHRAF" userId="5247841d-d595-4c30-b58a-9906097315c5" providerId="ADAL" clId="{49E1EDC4-949C-4C9A-9207-A653EB98B0DF}" dt="2024-11-19T09:14:13.499" v="4766" actId="47"/>
        <pc:sldMkLst>
          <pc:docMk/>
          <pc:sldMk cId="3837952609" sldId="2147475752"/>
        </pc:sldMkLst>
      </pc:sldChg>
      <pc:sldChg chg="add del ord">
        <pc:chgData name="Raphaella ASHRAF" userId="5247841d-d595-4c30-b58a-9906097315c5" providerId="ADAL" clId="{49E1EDC4-949C-4C9A-9207-A653EB98B0DF}" dt="2024-11-19T09:14:13.499" v="4766" actId="47"/>
        <pc:sldMkLst>
          <pc:docMk/>
          <pc:sldMk cId="2797331998" sldId="2147475753"/>
        </pc:sldMkLst>
      </pc:sldChg>
      <pc:sldChg chg="add del ord">
        <pc:chgData name="Raphaella ASHRAF" userId="5247841d-d595-4c30-b58a-9906097315c5" providerId="ADAL" clId="{49E1EDC4-949C-4C9A-9207-A653EB98B0DF}" dt="2024-11-19T09:14:13.499" v="4766" actId="47"/>
        <pc:sldMkLst>
          <pc:docMk/>
          <pc:sldMk cId="3666614911" sldId="2147475754"/>
        </pc:sldMkLst>
      </pc:sldChg>
      <pc:sldChg chg="add del ord">
        <pc:chgData name="Raphaella ASHRAF" userId="5247841d-d595-4c30-b58a-9906097315c5" providerId="ADAL" clId="{49E1EDC4-949C-4C9A-9207-A653EB98B0DF}" dt="2024-11-19T09:14:13.499" v="4766" actId="47"/>
        <pc:sldMkLst>
          <pc:docMk/>
          <pc:sldMk cId="2545017809" sldId="2147475755"/>
        </pc:sldMkLst>
      </pc:sldChg>
      <pc:sldChg chg="add del ord">
        <pc:chgData name="Raphaella ASHRAF" userId="5247841d-d595-4c30-b58a-9906097315c5" providerId="ADAL" clId="{49E1EDC4-949C-4C9A-9207-A653EB98B0DF}" dt="2024-11-19T09:14:13.499" v="4766" actId="47"/>
        <pc:sldMkLst>
          <pc:docMk/>
          <pc:sldMk cId="4113407600" sldId="2147475756"/>
        </pc:sldMkLst>
      </pc:sldChg>
      <pc:sldChg chg="add del ord">
        <pc:chgData name="Raphaella ASHRAF" userId="5247841d-d595-4c30-b58a-9906097315c5" providerId="ADAL" clId="{49E1EDC4-949C-4C9A-9207-A653EB98B0DF}" dt="2024-11-19T09:14:13.499" v="4766" actId="47"/>
        <pc:sldMkLst>
          <pc:docMk/>
          <pc:sldMk cId="3017247048" sldId="2147475757"/>
        </pc:sldMkLst>
      </pc:sldChg>
      <pc:sldChg chg="add del ord">
        <pc:chgData name="Raphaella ASHRAF" userId="5247841d-d595-4c30-b58a-9906097315c5" providerId="ADAL" clId="{49E1EDC4-949C-4C9A-9207-A653EB98B0DF}" dt="2024-11-19T09:14:13.499" v="4766" actId="47"/>
        <pc:sldMkLst>
          <pc:docMk/>
          <pc:sldMk cId="2704842689" sldId="2147475758"/>
        </pc:sldMkLst>
      </pc:sldChg>
      <pc:sldChg chg="add del ord">
        <pc:chgData name="Raphaella ASHRAF" userId="5247841d-d595-4c30-b58a-9906097315c5" providerId="ADAL" clId="{49E1EDC4-949C-4C9A-9207-A653EB98B0DF}" dt="2024-11-19T09:14:13.499" v="4766" actId="47"/>
        <pc:sldMkLst>
          <pc:docMk/>
          <pc:sldMk cId="2081212569" sldId="2147475759"/>
        </pc:sldMkLst>
      </pc:sldChg>
      <pc:sldChg chg="add del ord">
        <pc:chgData name="Raphaella ASHRAF" userId="5247841d-d595-4c30-b58a-9906097315c5" providerId="ADAL" clId="{49E1EDC4-949C-4C9A-9207-A653EB98B0DF}" dt="2024-11-19T09:14:13.499" v="4766" actId="47"/>
        <pc:sldMkLst>
          <pc:docMk/>
          <pc:sldMk cId="2029574361" sldId="2147475760"/>
        </pc:sldMkLst>
      </pc:sldChg>
      <pc:sldChg chg="add del ord">
        <pc:chgData name="Raphaella ASHRAF" userId="5247841d-d595-4c30-b58a-9906097315c5" providerId="ADAL" clId="{49E1EDC4-949C-4C9A-9207-A653EB98B0DF}" dt="2024-11-19T09:14:13.499" v="4766" actId="47"/>
        <pc:sldMkLst>
          <pc:docMk/>
          <pc:sldMk cId="554224919" sldId="2147475761"/>
        </pc:sldMkLst>
      </pc:sldChg>
      <pc:sldChg chg="add del ord">
        <pc:chgData name="Raphaella ASHRAF" userId="5247841d-d595-4c30-b58a-9906097315c5" providerId="ADAL" clId="{49E1EDC4-949C-4C9A-9207-A653EB98B0DF}" dt="2024-11-19T09:14:13.499" v="4766" actId="47"/>
        <pc:sldMkLst>
          <pc:docMk/>
          <pc:sldMk cId="3538813694" sldId="2147475762"/>
        </pc:sldMkLst>
      </pc:sldChg>
      <pc:sldChg chg="add del ord">
        <pc:chgData name="Raphaella ASHRAF" userId="5247841d-d595-4c30-b58a-9906097315c5" providerId="ADAL" clId="{49E1EDC4-949C-4C9A-9207-A653EB98B0DF}" dt="2024-11-19T09:14:13.499" v="4766" actId="47"/>
        <pc:sldMkLst>
          <pc:docMk/>
          <pc:sldMk cId="1028253182" sldId="2147475763"/>
        </pc:sldMkLst>
      </pc:sldChg>
      <pc:sldChg chg="add del ord">
        <pc:chgData name="Raphaella ASHRAF" userId="5247841d-d595-4c30-b58a-9906097315c5" providerId="ADAL" clId="{49E1EDC4-949C-4C9A-9207-A653EB98B0DF}" dt="2024-11-19T09:14:13.499" v="4766" actId="47"/>
        <pc:sldMkLst>
          <pc:docMk/>
          <pc:sldMk cId="2551325518" sldId="2147475764"/>
        </pc:sldMkLst>
      </pc:sldChg>
      <pc:sldChg chg="add del ord">
        <pc:chgData name="Raphaella ASHRAF" userId="5247841d-d595-4c30-b58a-9906097315c5" providerId="ADAL" clId="{49E1EDC4-949C-4C9A-9207-A653EB98B0DF}" dt="2024-11-19T09:14:13.499" v="4766" actId="47"/>
        <pc:sldMkLst>
          <pc:docMk/>
          <pc:sldMk cId="1611406540" sldId="2147475765"/>
        </pc:sldMkLst>
      </pc:sldChg>
      <pc:sldChg chg="add del ord">
        <pc:chgData name="Raphaella ASHRAF" userId="5247841d-d595-4c30-b58a-9906097315c5" providerId="ADAL" clId="{49E1EDC4-949C-4C9A-9207-A653EB98B0DF}" dt="2024-11-19T09:14:13.499" v="4766" actId="47"/>
        <pc:sldMkLst>
          <pc:docMk/>
          <pc:sldMk cId="4140092500" sldId="2147475766"/>
        </pc:sldMkLst>
      </pc:sldChg>
      <pc:sldChg chg="add del ord">
        <pc:chgData name="Raphaella ASHRAF" userId="5247841d-d595-4c30-b58a-9906097315c5" providerId="ADAL" clId="{49E1EDC4-949C-4C9A-9207-A653EB98B0DF}" dt="2024-11-19T09:14:13.499" v="4766" actId="47"/>
        <pc:sldMkLst>
          <pc:docMk/>
          <pc:sldMk cId="459952118" sldId="2147475767"/>
        </pc:sldMkLst>
      </pc:sldChg>
      <pc:sldChg chg="add del ord">
        <pc:chgData name="Raphaella ASHRAF" userId="5247841d-d595-4c30-b58a-9906097315c5" providerId="ADAL" clId="{49E1EDC4-949C-4C9A-9207-A653EB98B0DF}" dt="2024-11-19T09:14:13.499" v="4766" actId="47"/>
        <pc:sldMkLst>
          <pc:docMk/>
          <pc:sldMk cId="1404802451" sldId="2147475768"/>
        </pc:sldMkLst>
      </pc:sldChg>
      <pc:sldChg chg="add del ord">
        <pc:chgData name="Raphaella ASHRAF" userId="5247841d-d595-4c30-b58a-9906097315c5" providerId="ADAL" clId="{49E1EDC4-949C-4C9A-9207-A653EB98B0DF}" dt="2024-11-19T09:14:13.499" v="4766" actId="47"/>
        <pc:sldMkLst>
          <pc:docMk/>
          <pc:sldMk cId="2287764642" sldId="2147475769"/>
        </pc:sldMkLst>
      </pc:sldChg>
      <pc:sldChg chg="add del ord">
        <pc:chgData name="Raphaella ASHRAF" userId="5247841d-d595-4c30-b58a-9906097315c5" providerId="ADAL" clId="{49E1EDC4-949C-4C9A-9207-A653EB98B0DF}" dt="2024-11-19T09:14:13.499" v="4766" actId="47"/>
        <pc:sldMkLst>
          <pc:docMk/>
          <pc:sldMk cId="2765402027" sldId="2147475770"/>
        </pc:sldMkLst>
      </pc:sldChg>
      <pc:sldChg chg="add del ord">
        <pc:chgData name="Raphaella ASHRAF" userId="5247841d-d595-4c30-b58a-9906097315c5" providerId="ADAL" clId="{49E1EDC4-949C-4C9A-9207-A653EB98B0DF}" dt="2024-11-19T09:14:13.499" v="4766" actId="47"/>
        <pc:sldMkLst>
          <pc:docMk/>
          <pc:sldMk cId="941431925" sldId="2147475771"/>
        </pc:sldMkLst>
      </pc:sldChg>
      <pc:sldChg chg="add del ord">
        <pc:chgData name="Raphaella ASHRAF" userId="5247841d-d595-4c30-b58a-9906097315c5" providerId="ADAL" clId="{49E1EDC4-949C-4C9A-9207-A653EB98B0DF}" dt="2024-11-19T09:14:13.499" v="4766" actId="47"/>
        <pc:sldMkLst>
          <pc:docMk/>
          <pc:sldMk cId="440148678" sldId="2147475772"/>
        </pc:sldMkLst>
      </pc:sldChg>
      <pc:sldChg chg="add del ord">
        <pc:chgData name="Raphaella ASHRAF" userId="5247841d-d595-4c30-b58a-9906097315c5" providerId="ADAL" clId="{49E1EDC4-949C-4C9A-9207-A653EB98B0DF}" dt="2024-11-19T09:14:13.499" v="4766" actId="47"/>
        <pc:sldMkLst>
          <pc:docMk/>
          <pc:sldMk cId="1446460161" sldId="2147475773"/>
        </pc:sldMkLst>
      </pc:sldChg>
      <pc:sldChg chg="add del ord">
        <pc:chgData name="Raphaella ASHRAF" userId="5247841d-d595-4c30-b58a-9906097315c5" providerId="ADAL" clId="{49E1EDC4-949C-4C9A-9207-A653EB98B0DF}" dt="2024-11-19T09:14:13.499" v="4766" actId="47"/>
        <pc:sldMkLst>
          <pc:docMk/>
          <pc:sldMk cId="99434538" sldId="2147475774"/>
        </pc:sldMkLst>
      </pc:sldChg>
      <pc:sldChg chg="add del ord">
        <pc:chgData name="Raphaella ASHRAF" userId="5247841d-d595-4c30-b58a-9906097315c5" providerId="ADAL" clId="{49E1EDC4-949C-4C9A-9207-A653EB98B0DF}" dt="2024-11-19T09:14:13.499" v="4766" actId="47"/>
        <pc:sldMkLst>
          <pc:docMk/>
          <pc:sldMk cId="749274976" sldId="2147475775"/>
        </pc:sldMkLst>
      </pc:sldChg>
      <pc:sldChg chg="add del ord">
        <pc:chgData name="Raphaella ASHRAF" userId="5247841d-d595-4c30-b58a-9906097315c5" providerId="ADAL" clId="{49E1EDC4-949C-4C9A-9207-A653EB98B0DF}" dt="2024-11-19T09:14:13.499" v="4766" actId="47"/>
        <pc:sldMkLst>
          <pc:docMk/>
          <pc:sldMk cId="695899209" sldId="2147475776"/>
        </pc:sldMkLst>
      </pc:sldChg>
      <pc:sldChg chg="add del ord">
        <pc:chgData name="Raphaella ASHRAF" userId="5247841d-d595-4c30-b58a-9906097315c5" providerId="ADAL" clId="{49E1EDC4-949C-4C9A-9207-A653EB98B0DF}" dt="2024-11-19T09:14:13.499" v="4766" actId="47"/>
        <pc:sldMkLst>
          <pc:docMk/>
          <pc:sldMk cId="1359361084" sldId="2147475777"/>
        </pc:sldMkLst>
      </pc:sldChg>
      <pc:sldChg chg="add del ord">
        <pc:chgData name="Raphaella ASHRAF" userId="5247841d-d595-4c30-b58a-9906097315c5" providerId="ADAL" clId="{49E1EDC4-949C-4C9A-9207-A653EB98B0DF}" dt="2024-11-19T09:14:13.499" v="4766" actId="47"/>
        <pc:sldMkLst>
          <pc:docMk/>
          <pc:sldMk cId="3227911031" sldId="2147475778"/>
        </pc:sldMkLst>
      </pc:sldChg>
      <pc:sldChg chg="add del ord">
        <pc:chgData name="Raphaella ASHRAF" userId="5247841d-d595-4c30-b58a-9906097315c5" providerId="ADAL" clId="{49E1EDC4-949C-4C9A-9207-A653EB98B0DF}" dt="2024-11-19T09:14:13.499" v="4766" actId="47"/>
        <pc:sldMkLst>
          <pc:docMk/>
          <pc:sldMk cId="1935428159" sldId="2147475779"/>
        </pc:sldMkLst>
      </pc:sldChg>
      <pc:sldChg chg="add del ord">
        <pc:chgData name="Raphaella ASHRAF" userId="5247841d-d595-4c30-b58a-9906097315c5" providerId="ADAL" clId="{49E1EDC4-949C-4C9A-9207-A653EB98B0DF}" dt="2024-11-19T09:14:13.499" v="4766" actId="47"/>
        <pc:sldMkLst>
          <pc:docMk/>
          <pc:sldMk cId="548375337" sldId="2147475780"/>
        </pc:sldMkLst>
      </pc:sldChg>
      <pc:sldChg chg="add del ord">
        <pc:chgData name="Raphaella ASHRAF" userId="5247841d-d595-4c30-b58a-9906097315c5" providerId="ADAL" clId="{49E1EDC4-949C-4C9A-9207-A653EB98B0DF}" dt="2024-11-19T09:14:13.499" v="4766" actId="47"/>
        <pc:sldMkLst>
          <pc:docMk/>
          <pc:sldMk cId="852886565" sldId="2147475781"/>
        </pc:sldMkLst>
      </pc:sldChg>
      <pc:sldChg chg="add del ord">
        <pc:chgData name="Raphaella ASHRAF" userId="5247841d-d595-4c30-b58a-9906097315c5" providerId="ADAL" clId="{49E1EDC4-949C-4C9A-9207-A653EB98B0DF}" dt="2024-11-19T09:14:13.499" v="4766" actId="47"/>
        <pc:sldMkLst>
          <pc:docMk/>
          <pc:sldMk cId="4113993377" sldId="2147475782"/>
        </pc:sldMkLst>
      </pc:sldChg>
      <pc:sldChg chg="add del ord">
        <pc:chgData name="Raphaella ASHRAF" userId="5247841d-d595-4c30-b58a-9906097315c5" providerId="ADAL" clId="{49E1EDC4-949C-4C9A-9207-A653EB98B0DF}" dt="2024-11-19T09:14:13.499" v="4766" actId="47"/>
        <pc:sldMkLst>
          <pc:docMk/>
          <pc:sldMk cId="288775096" sldId="2147475783"/>
        </pc:sldMkLst>
      </pc:sldChg>
      <pc:sldChg chg="add del ord">
        <pc:chgData name="Raphaella ASHRAF" userId="5247841d-d595-4c30-b58a-9906097315c5" providerId="ADAL" clId="{49E1EDC4-949C-4C9A-9207-A653EB98B0DF}" dt="2024-11-19T09:14:13.499" v="4766" actId="47"/>
        <pc:sldMkLst>
          <pc:docMk/>
          <pc:sldMk cId="1207540335" sldId="2147475784"/>
        </pc:sldMkLst>
      </pc:sldChg>
      <pc:sldChg chg="add del ord">
        <pc:chgData name="Raphaella ASHRAF" userId="5247841d-d595-4c30-b58a-9906097315c5" providerId="ADAL" clId="{49E1EDC4-949C-4C9A-9207-A653EB98B0DF}" dt="2024-11-19T09:14:13.499" v="4766" actId="47"/>
        <pc:sldMkLst>
          <pc:docMk/>
          <pc:sldMk cId="4225208439" sldId="2147475785"/>
        </pc:sldMkLst>
      </pc:sldChg>
      <pc:sldChg chg="add del ord">
        <pc:chgData name="Raphaella ASHRAF" userId="5247841d-d595-4c30-b58a-9906097315c5" providerId="ADAL" clId="{49E1EDC4-949C-4C9A-9207-A653EB98B0DF}" dt="2024-11-19T09:14:13.499" v="4766" actId="47"/>
        <pc:sldMkLst>
          <pc:docMk/>
          <pc:sldMk cId="2969177910" sldId="2147475786"/>
        </pc:sldMkLst>
      </pc:sldChg>
      <pc:sldChg chg="add del ord">
        <pc:chgData name="Raphaella ASHRAF" userId="5247841d-d595-4c30-b58a-9906097315c5" providerId="ADAL" clId="{49E1EDC4-949C-4C9A-9207-A653EB98B0DF}" dt="2024-11-19T09:14:13.499" v="4766" actId="47"/>
        <pc:sldMkLst>
          <pc:docMk/>
          <pc:sldMk cId="2061626039" sldId="2147475787"/>
        </pc:sldMkLst>
      </pc:sldChg>
      <pc:sldChg chg="add del ord">
        <pc:chgData name="Raphaella ASHRAF" userId="5247841d-d595-4c30-b58a-9906097315c5" providerId="ADAL" clId="{49E1EDC4-949C-4C9A-9207-A653EB98B0DF}" dt="2024-11-19T09:14:13.499" v="4766" actId="47"/>
        <pc:sldMkLst>
          <pc:docMk/>
          <pc:sldMk cId="4070538523" sldId="2147475788"/>
        </pc:sldMkLst>
      </pc:sldChg>
      <pc:sldChg chg="add del ord">
        <pc:chgData name="Raphaella ASHRAF" userId="5247841d-d595-4c30-b58a-9906097315c5" providerId="ADAL" clId="{49E1EDC4-949C-4C9A-9207-A653EB98B0DF}" dt="2024-11-19T09:14:13.499" v="4766" actId="47"/>
        <pc:sldMkLst>
          <pc:docMk/>
          <pc:sldMk cId="2295740626" sldId="2147475789"/>
        </pc:sldMkLst>
      </pc:sldChg>
      <pc:sldChg chg="add del ord">
        <pc:chgData name="Raphaella ASHRAF" userId="5247841d-d595-4c30-b58a-9906097315c5" providerId="ADAL" clId="{49E1EDC4-949C-4C9A-9207-A653EB98B0DF}" dt="2024-11-19T09:14:13.499" v="4766" actId="47"/>
        <pc:sldMkLst>
          <pc:docMk/>
          <pc:sldMk cId="2106571615" sldId="2147475790"/>
        </pc:sldMkLst>
      </pc:sldChg>
      <pc:sldChg chg="add del ord">
        <pc:chgData name="Raphaella ASHRAF" userId="5247841d-d595-4c30-b58a-9906097315c5" providerId="ADAL" clId="{49E1EDC4-949C-4C9A-9207-A653EB98B0DF}" dt="2024-11-19T09:14:13.499" v="4766" actId="47"/>
        <pc:sldMkLst>
          <pc:docMk/>
          <pc:sldMk cId="2299638958" sldId="2147475791"/>
        </pc:sldMkLst>
      </pc:sldChg>
      <pc:sldChg chg="add del ord">
        <pc:chgData name="Raphaella ASHRAF" userId="5247841d-d595-4c30-b58a-9906097315c5" providerId="ADAL" clId="{49E1EDC4-949C-4C9A-9207-A653EB98B0DF}" dt="2024-11-19T09:14:13.499" v="4766" actId="47"/>
        <pc:sldMkLst>
          <pc:docMk/>
          <pc:sldMk cId="2445081452" sldId="2147475792"/>
        </pc:sldMkLst>
      </pc:sldChg>
      <pc:sldChg chg="add del ord">
        <pc:chgData name="Raphaella ASHRAF" userId="5247841d-d595-4c30-b58a-9906097315c5" providerId="ADAL" clId="{49E1EDC4-949C-4C9A-9207-A653EB98B0DF}" dt="2024-11-19T09:14:13.499" v="4766" actId="47"/>
        <pc:sldMkLst>
          <pc:docMk/>
          <pc:sldMk cId="4280644935" sldId="2147475793"/>
        </pc:sldMkLst>
      </pc:sldChg>
      <pc:sldChg chg="add del ord">
        <pc:chgData name="Raphaella ASHRAF" userId="5247841d-d595-4c30-b58a-9906097315c5" providerId="ADAL" clId="{49E1EDC4-949C-4C9A-9207-A653EB98B0DF}" dt="2024-11-19T09:14:13.499" v="4766" actId="47"/>
        <pc:sldMkLst>
          <pc:docMk/>
          <pc:sldMk cId="1574510394" sldId="2147475794"/>
        </pc:sldMkLst>
      </pc:sldChg>
      <pc:sldChg chg="add del ord">
        <pc:chgData name="Raphaella ASHRAF" userId="5247841d-d595-4c30-b58a-9906097315c5" providerId="ADAL" clId="{49E1EDC4-949C-4C9A-9207-A653EB98B0DF}" dt="2024-11-19T09:14:13.499" v="4766" actId="47"/>
        <pc:sldMkLst>
          <pc:docMk/>
          <pc:sldMk cId="2144088874" sldId="2147475795"/>
        </pc:sldMkLst>
      </pc:sldChg>
      <pc:sldChg chg="add del ord">
        <pc:chgData name="Raphaella ASHRAF" userId="5247841d-d595-4c30-b58a-9906097315c5" providerId="ADAL" clId="{49E1EDC4-949C-4C9A-9207-A653EB98B0DF}" dt="2024-11-19T09:14:13.499" v="4766" actId="47"/>
        <pc:sldMkLst>
          <pc:docMk/>
          <pc:sldMk cId="1423743496" sldId="2147475796"/>
        </pc:sldMkLst>
      </pc:sldChg>
      <pc:sldChg chg="add del ord">
        <pc:chgData name="Raphaella ASHRAF" userId="5247841d-d595-4c30-b58a-9906097315c5" providerId="ADAL" clId="{49E1EDC4-949C-4C9A-9207-A653EB98B0DF}" dt="2024-11-19T09:14:13.499" v="4766" actId="47"/>
        <pc:sldMkLst>
          <pc:docMk/>
          <pc:sldMk cId="1142641720" sldId="2147475797"/>
        </pc:sldMkLst>
      </pc:sldChg>
      <pc:sldChg chg="add del ord">
        <pc:chgData name="Raphaella ASHRAF" userId="5247841d-d595-4c30-b58a-9906097315c5" providerId="ADAL" clId="{49E1EDC4-949C-4C9A-9207-A653EB98B0DF}" dt="2024-11-19T09:14:13.499" v="4766" actId="47"/>
        <pc:sldMkLst>
          <pc:docMk/>
          <pc:sldMk cId="1877529287" sldId="2147475798"/>
        </pc:sldMkLst>
      </pc:sldChg>
      <pc:sldChg chg="add del ord">
        <pc:chgData name="Raphaella ASHRAF" userId="5247841d-d595-4c30-b58a-9906097315c5" providerId="ADAL" clId="{49E1EDC4-949C-4C9A-9207-A653EB98B0DF}" dt="2024-11-19T09:14:13.499" v="4766" actId="47"/>
        <pc:sldMkLst>
          <pc:docMk/>
          <pc:sldMk cId="957521507" sldId="2147475799"/>
        </pc:sldMkLst>
      </pc:sldChg>
      <pc:sldChg chg="add del ord">
        <pc:chgData name="Raphaella ASHRAF" userId="5247841d-d595-4c30-b58a-9906097315c5" providerId="ADAL" clId="{49E1EDC4-949C-4C9A-9207-A653EB98B0DF}" dt="2024-11-19T09:14:13.499" v="4766" actId="47"/>
        <pc:sldMkLst>
          <pc:docMk/>
          <pc:sldMk cId="1058756203" sldId="2147475800"/>
        </pc:sldMkLst>
      </pc:sldChg>
      <pc:sldChg chg="add del ord">
        <pc:chgData name="Raphaella ASHRAF" userId="5247841d-d595-4c30-b58a-9906097315c5" providerId="ADAL" clId="{49E1EDC4-949C-4C9A-9207-A653EB98B0DF}" dt="2024-11-19T09:14:13.499" v="4766" actId="47"/>
        <pc:sldMkLst>
          <pc:docMk/>
          <pc:sldMk cId="3655358380" sldId="2147475801"/>
        </pc:sldMkLst>
      </pc:sldChg>
      <pc:sldChg chg="add del ord">
        <pc:chgData name="Raphaella ASHRAF" userId="5247841d-d595-4c30-b58a-9906097315c5" providerId="ADAL" clId="{49E1EDC4-949C-4C9A-9207-A653EB98B0DF}" dt="2024-11-19T09:14:13.499" v="4766" actId="47"/>
        <pc:sldMkLst>
          <pc:docMk/>
          <pc:sldMk cId="2978705110" sldId="2147475802"/>
        </pc:sldMkLst>
      </pc:sldChg>
      <pc:sldChg chg="add del ord">
        <pc:chgData name="Raphaella ASHRAF" userId="5247841d-d595-4c30-b58a-9906097315c5" providerId="ADAL" clId="{49E1EDC4-949C-4C9A-9207-A653EB98B0DF}" dt="2024-11-19T09:14:13.499" v="4766" actId="47"/>
        <pc:sldMkLst>
          <pc:docMk/>
          <pc:sldMk cId="563341320" sldId="2147475803"/>
        </pc:sldMkLst>
      </pc:sldChg>
      <pc:sldChg chg="add del ord">
        <pc:chgData name="Raphaella ASHRAF" userId="5247841d-d595-4c30-b58a-9906097315c5" providerId="ADAL" clId="{49E1EDC4-949C-4C9A-9207-A653EB98B0DF}" dt="2024-11-19T09:14:13.499" v="4766" actId="47"/>
        <pc:sldMkLst>
          <pc:docMk/>
          <pc:sldMk cId="3050481783" sldId="2147475804"/>
        </pc:sldMkLst>
      </pc:sldChg>
      <pc:sldChg chg="add del ord">
        <pc:chgData name="Raphaella ASHRAF" userId="5247841d-d595-4c30-b58a-9906097315c5" providerId="ADAL" clId="{49E1EDC4-949C-4C9A-9207-A653EB98B0DF}" dt="2024-11-19T09:14:13.499" v="4766" actId="47"/>
        <pc:sldMkLst>
          <pc:docMk/>
          <pc:sldMk cId="1207256971" sldId="2147475805"/>
        </pc:sldMkLst>
      </pc:sldChg>
      <pc:sldChg chg="add del ord">
        <pc:chgData name="Raphaella ASHRAF" userId="5247841d-d595-4c30-b58a-9906097315c5" providerId="ADAL" clId="{49E1EDC4-949C-4C9A-9207-A653EB98B0DF}" dt="2024-11-19T09:17:18.019" v="4767" actId="47"/>
        <pc:sldMkLst>
          <pc:docMk/>
          <pc:sldMk cId="4025331912" sldId="2147475806"/>
        </pc:sldMkLst>
      </pc:sldChg>
      <pc:sldChg chg="add del ord">
        <pc:chgData name="Raphaella ASHRAF" userId="5247841d-d595-4c30-b58a-9906097315c5" providerId="ADAL" clId="{49E1EDC4-949C-4C9A-9207-A653EB98B0DF}" dt="2024-11-19T09:17:18.019" v="4767" actId="47"/>
        <pc:sldMkLst>
          <pc:docMk/>
          <pc:sldMk cId="2238637971" sldId="2147475807"/>
        </pc:sldMkLst>
      </pc:sldChg>
      <pc:sldChg chg="add del ord">
        <pc:chgData name="Raphaella ASHRAF" userId="5247841d-d595-4c30-b58a-9906097315c5" providerId="ADAL" clId="{49E1EDC4-949C-4C9A-9207-A653EB98B0DF}" dt="2024-11-19T09:17:18.019" v="4767" actId="47"/>
        <pc:sldMkLst>
          <pc:docMk/>
          <pc:sldMk cId="1354098528" sldId="2147475808"/>
        </pc:sldMkLst>
      </pc:sldChg>
      <pc:sldChg chg="add del ord">
        <pc:chgData name="Raphaella ASHRAF" userId="5247841d-d595-4c30-b58a-9906097315c5" providerId="ADAL" clId="{49E1EDC4-949C-4C9A-9207-A653EB98B0DF}" dt="2024-11-19T09:17:18.019" v="4767" actId="47"/>
        <pc:sldMkLst>
          <pc:docMk/>
          <pc:sldMk cId="3390327638" sldId="2147475809"/>
        </pc:sldMkLst>
      </pc:sldChg>
      <pc:sldChg chg="add del ord">
        <pc:chgData name="Raphaella ASHRAF" userId="5247841d-d595-4c30-b58a-9906097315c5" providerId="ADAL" clId="{49E1EDC4-949C-4C9A-9207-A653EB98B0DF}" dt="2024-11-19T09:17:18.019" v="4767" actId="47"/>
        <pc:sldMkLst>
          <pc:docMk/>
          <pc:sldMk cId="135539227" sldId="2147475810"/>
        </pc:sldMkLst>
      </pc:sldChg>
      <pc:sldChg chg="add del ord">
        <pc:chgData name="Raphaella ASHRAF" userId="5247841d-d595-4c30-b58a-9906097315c5" providerId="ADAL" clId="{49E1EDC4-949C-4C9A-9207-A653EB98B0DF}" dt="2024-11-19T09:17:18.019" v="4767" actId="47"/>
        <pc:sldMkLst>
          <pc:docMk/>
          <pc:sldMk cId="3260489193" sldId="2147475811"/>
        </pc:sldMkLst>
      </pc:sldChg>
      <pc:sldChg chg="add del ord">
        <pc:chgData name="Raphaella ASHRAF" userId="5247841d-d595-4c30-b58a-9906097315c5" providerId="ADAL" clId="{49E1EDC4-949C-4C9A-9207-A653EB98B0DF}" dt="2024-11-19T09:17:18.019" v="4767" actId="47"/>
        <pc:sldMkLst>
          <pc:docMk/>
          <pc:sldMk cId="4058100269" sldId="2147475812"/>
        </pc:sldMkLst>
      </pc:sldChg>
      <pc:sldChg chg="add del ord">
        <pc:chgData name="Raphaella ASHRAF" userId="5247841d-d595-4c30-b58a-9906097315c5" providerId="ADAL" clId="{49E1EDC4-949C-4C9A-9207-A653EB98B0DF}" dt="2024-11-19T09:17:18.019" v="4767" actId="47"/>
        <pc:sldMkLst>
          <pc:docMk/>
          <pc:sldMk cId="2151727303" sldId="2147475813"/>
        </pc:sldMkLst>
      </pc:sldChg>
      <pc:sldChg chg="add del ord">
        <pc:chgData name="Raphaella ASHRAF" userId="5247841d-d595-4c30-b58a-9906097315c5" providerId="ADAL" clId="{49E1EDC4-949C-4C9A-9207-A653EB98B0DF}" dt="2024-11-19T09:17:18.019" v="4767" actId="47"/>
        <pc:sldMkLst>
          <pc:docMk/>
          <pc:sldMk cId="2180776384" sldId="2147475814"/>
        </pc:sldMkLst>
      </pc:sldChg>
      <pc:sldChg chg="add del ord">
        <pc:chgData name="Raphaella ASHRAF" userId="5247841d-d595-4c30-b58a-9906097315c5" providerId="ADAL" clId="{49E1EDC4-949C-4C9A-9207-A653EB98B0DF}" dt="2024-11-19T09:17:18.019" v="4767" actId="47"/>
        <pc:sldMkLst>
          <pc:docMk/>
          <pc:sldMk cId="662980335" sldId="2147475815"/>
        </pc:sldMkLst>
      </pc:sldChg>
      <pc:sldChg chg="add del ord">
        <pc:chgData name="Raphaella ASHRAF" userId="5247841d-d595-4c30-b58a-9906097315c5" providerId="ADAL" clId="{49E1EDC4-949C-4C9A-9207-A653EB98B0DF}" dt="2024-11-19T09:17:18.019" v="4767" actId="47"/>
        <pc:sldMkLst>
          <pc:docMk/>
          <pc:sldMk cId="1368307751" sldId="2147475816"/>
        </pc:sldMkLst>
      </pc:sldChg>
      <pc:sldChg chg="add del ord">
        <pc:chgData name="Raphaella ASHRAF" userId="5247841d-d595-4c30-b58a-9906097315c5" providerId="ADAL" clId="{49E1EDC4-949C-4C9A-9207-A653EB98B0DF}" dt="2024-11-19T09:17:18.019" v="4767" actId="47"/>
        <pc:sldMkLst>
          <pc:docMk/>
          <pc:sldMk cId="918837636" sldId="2147475817"/>
        </pc:sldMkLst>
      </pc:sldChg>
      <pc:sldChg chg="add del ord">
        <pc:chgData name="Raphaella ASHRAF" userId="5247841d-d595-4c30-b58a-9906097315c5" providerId="ADAL" clId="{49E1EDC4-949C-4C9A-9207-A653EB98B0DF}" dt="2024-11-19T09:17:18.019" v="4767" actId="47"/>
        <pc:sldMkLst>
          <pc:docMk/>
          <pc:sldMk cId="4292432679" sldId="2147475818"/>
        </pc:sldMkLst>
      </pc:sldChg>
      <pc:sldChg chg="add del ord">
        <pc:chgData name="Raphaella ASHRAF" userId="5247841d-d595-4c30-b58a-9906097315c5" providerId="ADAL" clId="{49E1EDC4-949C-4C9A-9207-A653EB98B0DF}" dt="2024-11-19T09:17:18.019" v="4767" actId="47"/>
        <pc:sldMkLst>
          <pc:docMk/>
          <pc:sldMk cId="3069751238" sldId="2147475819"/>
        </pc:sldMkLst>
      </pc:sldChg>
      <pc:sldChg chg="add del ord">
        <pc:chgData name="Raphaella ASHRAF" userId="5247841d-d595-4c30-b58a-9906097315c5" providerId="ADAL" clId="{49E1EDC4-949C-4C9A-9207-A653EB98B0DF}" dt="2024-11-19T09:17:18.019" v="4767" actId="47"/>
        <pc:sldMkLst>
          <pc:docMk/>
          <pc:sldMk cId="1485464756" sldId="2147475820"/>
        </pc:sldMkLst>
      </pc:sldChg>
      <pc:sldChg chg="add del ord">
        <pc:chgData name="Raphaella ASHRAF" userId="5247841d-d595-4c30-b58a-9906097315c5" providerId="ADAL" clId="{49E1EDC4-949C-4C9A-9207-A653EB98B0DF}" dt="2024-11-19T09:17:18.019" v="4767" actId="47"/>
        <pc:sldMkLst>
          <pc:docMk/>
          <pc:sldMk cId="183392510" sldId="2147475821"/>
        </pc:sldMkLst>
      </pc:sldChg>
      <pc:sldChg chg="add del ord">
        <pc:chgData name="Raphaella ASHRAF" userId="5247841d-d595-4c30-b58a-9906097315c5" providerId="ADAL" clId="{49E1EDC4-949C-4C9A-9207-A653EB98B0DF}" dt="2024-11-19T09:17:18.019" v="4767" actId="47"/>
        <pc:sldMkLst>
          <pc:docMk/>
          <pc:sldMk cId="1424752136" sldId="2147475822"/>
        </pc:sldMkLst>
      </pc:sldChg>
      <pc:sldChg chg="add del ord">
        <pc:chgData name="Raphaella ASHRAF" userId="5247841d-d595-4c30-b58a-9906097315c5" providerId="ADAL" clId="{49E1EDC4-949C-4C9A-9207-A653EB98B0DF}" dt="2024-11-19T09:17:18.019" v="4767" actId="47"/>
        <pc:sldMkLst>
          <pc:docMk/>
          <pc:sldMk cId="2637599993" sldId="2147475823"/>
        </pc:sldMkLst>
      </pc:sldChg>
      <pc:sldChg chg="add del ord">
        <pc:chgData name="Raphaella ASHRAF" userId="5247841d-d595-4c30-b58a-9906097315c5" providerId="ADAL" clId="{49E1EDC4-949C-4C9A-9207-A653EB98B0DF}" dt="2024-11-19T09:17:18.019" v="4767" actId="47"/>
        <pc:sldMkLst>
          <pc:docMk/>
          <pc:sldMk cId="462233406" sldId="2147475824"/>
        </pc:sldMkLst>
      </pc:sldChg>
      <pc:sldChg chg="add del ord">
        <pc:chgData name="Raphaella ASHRAF" userId="5247841d-d595-4c30-b58a-9906097315c5" providerId="ADAL" clId="{49E1EDC4-949C-4C9A-9207-A653EB98B0DF}" dt="2024-11-19T09:17:18.019" v="4767" actId="47"/>
        <pc:sldMkLst>
          <pc:docMk/>
          <pc:sldMk cId="3594466154" sldId="2147475825"/>
        </pc:sldMkLst>
      </pc:sldChg>
      <pc:sldChg chg="add del ord">
        <pc:chgData name="Raphaella ASHRAF" userId="5247841d-d595-4c30-b58a-9906097315c5" providerId="ADAL" clId="{49E1EDC4-949C-4C9A-9207-A653EB98B0DF}" dt="2024-11-19T09:17:18.019" v="4767" actId="47"/>
        <pc:sldMkLst>
          <pc:docMk/>
          <pc:sldMk cId="2001900150" sldId="2147475826"/>
        </pc:sldMkLst>
      </pc:sldChg>
      <pc:sldChg chg="add del ord">
        <pc:chgData name="Raphaella ASHRAF" userId="5247841d-d595-4c30-b58a-9906097315c5" providerId="ADAL" clId="{49E1EDC4-949C-4C9A-9207-A653EB98B0DF}" dt="2024-11-19T09:17:18.019" v="4767" actId="47"/>
        <pc:sldMkLst>
          <pc:docMk/>
          <pc:sldMk cId="1497632326" sldId="2147475827"/>
        </pc:sldMkLst>
      </pc:sldChg>
      <pc:sldChg chg="add del ord">
        <pc:chgData name="Raphaella ASHRAF" userId="5247841d-d595-4c30-b58a-9906097315c5" providerId="ADAL" clId="{49E1EDC4-949C-4C9A-9207-A653EB98B0DF}" dt="2024-11-19T09:17:18.019" v="4767" actId="47"/>
        <pc:sldMkLst>
          <pc:docMk/>
          <pc:sldMk cId="2920161778" sldId="2147475828"/>
        </pc:sldMkLst>
      </pc:sldChg>
      <pc:sldChg chg="add del ord">
        <pc:chgData name="Raphaella ASHRAF" userId="5247841d-d595-4c30-b58a-9906097315c5" providerId="ADAL" clId="{49E1EDC4-949C-4C9A-9207-A653EB98B0DF}" dt="2024-11-19T09:17:18.019" v="4767" actId="47"/>
        <pc:sldMkLst>
          <pc:docMk/>
          <pc:sldMk cId="688711386" sldId="2147475829"/>
        </pc:sldMkLst>
      </pc:sldChg>
      <pc:sldChg chg="add del ord">
        <pc:chgData name="Raphaella ASHRAF" userId="5247841d-d595-4c30-b58a-9906097315c5" providerId="ADAL" clId="{49E1EDC4-949C-4C9A-9207-A653EB98B0DF}" dt="2024-11-19T09:17:18.019" v="4767" actId="47"/>
        <pc:sldMkLst>
          <pc:docMk/>
          <pc:sldMk cId="162240406" sldId="2147475830"/>
        </pc:sldMkLst>
      </pc:sldChg>
      <pc:sldChg chg="add del ord">
        <pc:chgData name="Raphaella ASHRAF" userId="5247841d-d595-4c30-b58a-9906097315c5" providerId="ADAL" clId="{49E1EDC4-949C-4C9A-9207-A653EB98B0DF}" dt="2024-11-19T09:17:18.019" v="4767" actId="47"/>
        <pc:sldMkLst>
          <pc:docMk/>
          <pc:sldMk cId="2483727637" sldId="2147475831"/>
        </pc:sldMkLst>
      </pc:sldChg>
      <pc:sldChg chg="add del ord">
        <pc:chgData name="Raphaella ASHRAF" userId="5247841d-d595-4c30-b58a-9906097315c5" providerId="ADAL" clId="{49E1EDC4-949C-4C9A-9207-A653EB98B0DF}" dt="2024-11-19T09:17:18.019" v="4767" actId="47"/>
        <pc:sldMkLst>
          <pc:docMk/>
          <pc:sldMk cId="2537369663" sldId="2147475832"/>
        </pc:sldMkLst>
      </pc:sldChg>
      <pc:sldChg chg="add del ord">
        <pc:chgData name="Raphaella ASHRAF" userId="5247841d-d595-4c30-b58a-9906097315c5" providerId="ADAL" clId="{49E1EDC4-949C-4C9A-9207-A653EB98B0DF}" dt="2024-11-19T09:17:18.019" v="4767" actId="47"/>
        <pc:sldMkLst>
          <pc:docMk/>
          <pc:sldMk cId="2204823882" sldId="2147475833"/>
        </pc:sldMkLst>
      </pc:sldChg>
      <pc:sldChg chg="add del ord">
        <pc:chgData name="Raphaella ASHRAF" userId="5247841d-d595-4c30-b58a-9906097315c5" providerId="ADAL" clId="{49E1EDC4-949C-4C9A-9207-A653EB98B0DF}" dt="2024-11-19T09:17:18.019" v="4767" actId="47"/>
        <pc:sldMkLst>
          <pc:docMk/>
          <pc:sldMk cId="286805348" sldId="2147475834"/>
        </pc:sldMkLst>
      </pc:sldChg>
      <pc:sldChg chg="add del ord">
        <pc:chgData name="Raphaella ASHRAF" userId="5247841d-d595-4c30-b58a-9906097315c5" providerId="ADAL" clId="{49E1EDC4-949C-4C9A-9207-A653EB98B0DF}" dt="2024-11-19T09:17:18.019" v="4767" actId="47"/>
        <pc:sldMkLst>
          <pc:docMk/>
          <pc:sldMk cId="2225931128" sldId="2147475835"/>
        </pc:sldMkLst>
      </pc:sldChg>
      <pc:sldChg chg="add del ord">
        <pc:chgData name="Raphaella ASHRAF" userId="5247841d-d595-4c30-b58a-9906097315c5" providerId="ADAL" clId="{49E1EDC4-949C-4C9A-9207-A653EB98B0DF}" dt="2024-11-19T09:17:18.019" v="4767" actId="47"/>
        <pc:sldMkLst>
          <pc:docMk/>
          <pc:sldMk cId="452905716" sldId="2147475836"/>
        </pc:sldMkLst>
      </pc:sldChg>
      <pc:sldChg chg="add del ord">
        <pc:chgData name="Raphaella ASHRAF" userId="5247841d-d595-4c30-b58a-9906097315c5" providerId="ADAL" clId="{49E1EDC4-949C-4C9A-9207-A653EB98B0DF}" dt="2024-11-19T09:17:18.019" v="4767" actId="47"/>
        <pc:sldMkLst>
          <pc:docMk/>
          <pc:sldMk cId="3340253133" sldId="2147475837"/>
        </pc:sldMkLst>
      </pc:sldChg>
      <pc:sldChg chg="add del ord">
        <pc:chgData name="Raphaella ASHRAF" userId="5247841d-d595-4c30-b58a-9906097315c5" providerId="ADAL" clId="{49E1EDC4-949C-4C9A-9207-A653EB98B0DF}" dt="2024-11-19T09:17:18.019" v="4767" actId="47"/>
        <pc:sldMkLst>
          <pc:docMk/>
          <pc:sldMk cId="609482808" sldId="2147475838"/>
        </pc:sldMkLst>
      </pc:sldChg>
      <pc:sldChg chg="add del ord">
        <pc:chgData name="Raphaella ASHRAF" userId="5247841d-d595-4c30-b58a-9906097315c5" providerId="ADAL" clId="{49E1EDC4-949C-4C9A-9207-A653EB98B0DF}" dt="2024-11-19T09:17:18.019" v="4767" actId="47"/>
        <pc:sldMkLst>
          <pc:docMk/>
          <pc:sldMk cId="3007744642" sldId="2147475839"/>
        </pc:sldMkLst>
      </pc:sldChg>
      <pc:sldChg chg="add del ord">
        <pc:chgData name="Raphaella ASHRAF" userId="5247841d-d595-4c30-b58a-9906097315c5" providerId="ADAL" clId="{49E1EDC4-949C-4C9A-9207-A653EB98B0DF}" dt="2024-11-19T09:17:18.019" v="4767" actId="47"/>
        <pc:sldMkLst>
          <pc:docMk/>
          <pc:sldMk cId="4017520301" sldId="2147475840"/>
        </pc:sldMkLst>
      </pc:sldChg>
      <pc:sldChg chg="add del ord">
        <pc:chgData name="Raphaella ASHRAF" userId="5247841d-d595-4c30-b58a-9906097315c5" providerId="ADAL" clId="{49E1EDC4-949C-4C9A-9207-A653EB98B0DF}" dt="2024-11-19T09:17:18.019" v="4767" actId="47"/>
        <pc:sldMkLst>
          <pc:docMk/>
          <pc:sldMk cId="4161257690" sldId="2147475841"/>
        </pc:sldMkLst>
      </pc:sldChg>
      <pc:sldChg chg="add del ord">
        <pc:chgData name="Raphaella ASHRAF" userId="5247841d-d595-4c30-b58a-9906097315c5" providerId="ADAL" clId="{49E1EDC4-949C-4C9A-9207-A653EB98B0DF}" dt="2024-11-19T09:17:18.019" v="4767" actId="47"/>
        <pc:sldMkLst>
          <pc:docMk/>
          <pc:sldMk cId="1141312278" sldId="2147475842"/>
        </pc:sldMkLst>
      </pc:sldChg>
      <pc:sldChg chg="add del ord">
        <pc:chgData name="Raphaella ASHRAF" userId="5247841d-d595-4c30-b58a-9906097315c5" providerId="ADAL" clId="{49E1EDC4-949C-4C9A-9207-A653EB98B0DF}" dt="2024-11-19T09:17:18.019" v="4767" actId="47"/>
        <pc:sldMkLst>
          <pc:docMk/>
          <pc:sldMk cId="2146576798" sldId="2147475843"/>
        </pc:sldMkLst>
      </pc:sldChg>
      <pc:sldChg chg="add del ord">
        <pc:chgData name="Raphaella ASHRAF" userId="5247841d-d595-4c30-b58a-9906097315c5" providerId="ADAL" clId="{49E1EDC4-949C-4C9A-9207-A653EB98B0DF}" dt="2024-11-19T09:17:18.019" v="4767" actId="47"/>
        <pc:sldMkLst>
          <pc:docMk/>
          <pc:sldMk cId="1823617486" sldId="2147475844"/>
        </pc:sldMkLst>
      </pc:sldChg>
      <pc:sldChg chg="add del ord">
        <pc:chgData name="Raphaella ASHRAF" userId="5247841d-d595-4c30-b58a-9906097315c5" providerId="ADAL" clId="{49E1EDC4-949C-4C9A-9207-A653EB98B0DF}" dt="2024-11-19T09:17:18.019" v="4767" actId="47"/>
        <pc:sldMkLst>
          <pc:docMk/>
          <pc:sldMk cId="1769974323" sldId="2147475845"/>
        </pc:sldMkLst>
      </pc:sldChg>
      <pc:sldChg chg="add del ord">
        <pc:chgData name="Raphaella ASHRAF" userId="5247841d-d595-4c30-b58a-9906097315c5" providerId="ADAL" clId="{49E1EDC4-949C-4C9A-9207-A653EB98B0DF}" dt="2024-11-19T09:17:18.019" v="4767" actId="47"/>
        <pc:sldMkLst>
          <pc:docMk/>
          <pc:sldMk cId="1023194440" sldId="2147475846"/>
        </pc:sldMkLst>
      </pc:sldChg>
      <pc:sldChg chg="add del ord">
        <pc:chgData name="Raphaella ASHRAF" userId="5247841d-d595-4c30-b58a-9906097315c5" providerId="ADAL" clId="{49E1EDC4-949C-4C9A-9207-A653EB98B0DF}" dt="2024-11-19T09:17:18.019" v="4767" actId="47"/>
        <pc:sldMkLst>
          <pc:docMk/>
          <pc:sldMk cId="2910905124" sldId="2147475847"/>
        </pc:sldMkLst>
      </pc:sldChg>
      <pc:sldChg chg="add del ord">
        <pc:chgData name="Raphaella ASHRAF" userId="5247841d-d595-4c30-b58a-9906097315c5" providerId="ADAL" clId="{49E1EDC4-949C-4C9A-9207-A653EB98B0DF}" dt="2024-11-19T09:17:18.019" v="4767" actId="47"/>
        <pc:sldMkLst>
          <pc:docMk/>
          <pc:sldMk cId="2063281788" sldId="2147475848"/>
        </pc:sldMkLst>
      </pc:sldChg>
      <pc:sldChg chg="add del ord">
        <pc:chgData name="Raphaella ASHRAF" userId="5247841d-d595-4c30-b58a-9906097315c5" providerId="ADAL" clId="{49E1EDC4-949C-4C9A-9207-A653EB98B0DF}" dt="2024-11-19T09:17:18.019" v="4767" actId="47"/>
        <pc:sldMkLst>
          <pc:docMk/>
          <pc:sldMk cId="1887853419" sldId="2147475849"/>
        </pc:sldMkLst>
      </pc:sldChg>
      <pc:sldChg chg="add del ord">
        <pc:chgData name="Raphaella ASHRAF" userId="5247841d-d595-4c30-b58a-9906097315c5" providerId="ADAL" clId="{49E1EDC4-949C-4C9A-9207-A653EB98B0DF}" dt="2024-11-19T09:17:18.019" v="4767" actId="47"/>
        <pc:sldMkLst>
          <pc:docMk/>
          <pc:sldMk cId="1774551556" sldId="2147475850"/>
        </pc:sldMkLst>
      </pc:sldChg>
      <pc:sldChg chg="add del ord">
        <pc:chgData name="Raphaella ASHRAF" userId="5247841d-d595-4c30-b58a-9906097315c5" providerId="ADAL" clId="{49E1EDC4-949C-4C9A-9207-A653EB98B0DF}" dt="2024-11-19T09:17:18.019" v="4767" actId="47"/>
        <pc:sldMkLst>
          <pc:docMk/>
          <pc:sldMk cId="2676434629" sldId="2147475851"/>
        </pc:sldMkLst>
      </pc:sldChg>
      <pc:sldChg chg="add del ord">
        <pc:chgData name="Raphaella ASHRAF" userId="5247841d-d595-4c30-b58a-9906097315c5" providerId="ADAL" clId="{49E1EDC4-949C-4C9A-9207-A653EB98B0DF}" dt="2024-11-19T09:17:18.019" v="4767" actId="47"/>
        <pc:sldMkLst>
          <pc:docMk/>
          <pc:sldMk cId="2326566801" sldId="2147475852"/>
        </pc:sldMkLst>
      </pc:sldChg>
      <pc:sldChg chg="add del ord">
        <pc:chgData name="Raphaella ASHRAF" userId="5247841d-d595-4c30-b58a-9906097315c5" providerId="ADAL" clId="{49E1EDC4-949C-4C9A-9207-A653EB98B0DF}" dt="2024-11-19T09:17:18.019" v="4767" actId="47"/>
        <pc:sldMkLst>
          <pc:docMk/>
          <pc:sldMk cId="124691867" sldId="2147475853"/>
        </pc:sldMkLst>
      </pc:sldChg>
      <pc:sldChg chg="add del ord">
        <pc:chgData name="Raphaella ASHRAF" userId="5247841d-d595-4c30-b58a-9906097315c5" providerId="ADAL" clId="{49E1EDC4-949C-4C9A-9207-A653EB98B0DF}" dt="2024-11-19T09:17:18.019" v="4767" actId="47"/>
        <pc:sldMkLst>
          <pc:docMk/>
          <pc:sldMk cId="2778348738" sldId="2147475854"/>
        </pc:sldMkLst>
      </pc:sldChg>
      <pc:sldChg chg="add del ord">
        <pc:chgData name="Raphaella ASHRAF" userId="5247841d-d595-4c30-b58a-9906097315c5" providerId="ADAL" clId="{49E1EDC4-949C-4C9A-9207-A653EB98B0DF}" dt="2024-11-19T09:17:18.019" v="4767" actId="47"/>
        <pc:sldMkLst>
          <pc:docMk/>
          <pc:sldMk cId="2516094675" sldId="2147475855"/>
        </pc:sldMkLst>
      </pc:sldChg>
      <pc:sldChg chg="add del ord">
        <pc:chgData name="Raphaella ASHRAF" userId="5247841d-d595-4c30-b58a-9906097315c5" providerId="ADAL" clId="{49E1EDC4-949C-4C9A-9207-A653EB98B0DF}" dt="2024-11-19T09:17:18.019" v="4767" actId="47"/>
        <pc:sldMkLst>
          <pc:docMk/>
          <pc:sldMk cId="3871405779" sldId="2147475856"/>
        </pc:sldMkLst>
      </pc:sldChg>
      <pc:sldChg chg="add del ord">
        <pc:chgData name="Raphaella ASHRAF" userId="5247841d-d595-4c30-b58a-9906097315c5" providerId="ADAL" clId="{49E1EDC4-949C-4C9A-9207-A653EB98B0DF}" dt="2024-11-19T09:17:18.019" v="4767" actId="47"/>
        <pc:sldMkLst>
          <pc:docMk/>
          <pc:sldMk cId="1315689781" sldId="2147475857"/>
        </pc:sldMkLst>
      </pc:sldChg>
      <pc:sldChg chg="add del ord">
        <pc:chgData name="Raphaella ASHRAF" userId="5247841d-d595-4c30-b58a-9906097315c5" providerId="ADAL" clId="{49E1EDC4-949C-4C9A-9207-A653EB98B0DF}" dt="2024-11-19T09:17:18.019" v="4767" actId="47"/>
        <pc:sldMkLst>
          <pc:docMk/>
          <pc:sldMk cId="2791771845" sldId="2147475858"/>
        </pc:sldMkLst>
      </pc:sldChg>
      <pc:sldChg chg="add del ord">
        <pc:chgData name="Raphaella ASHRAF" userId="5247841d-d595-4c30-b58a-9906097315c5" providerId="ADAL" clId="{49E1EDC4-949C-4C9A-9207-A653EB98B0DF}" dt="2024-11-19T09:17:18.019" v="4767" actId="47"/>
        <pc:sldMkLst>
          <pc:docMk/>
          <pc:sldMk cId="2123936098" sldId="2147475859"/>
        </pc:sldMkLst>
      </pc:sldChg>
      <pc:sldChg chg="add del ord">
        <pc:chgData name="Raphaella ASHRAF" userId="5247841d-d595-4c30-b58a-9906097315c5" providerId="ADAL" clId="{49E1EDC4-949C-4C9A-9207-A653EB98B0DF}" dt="2024-11-19T09:17:18.019" v="4767" actId="47"/>
        <pc:sldMkLst>
          <pc:docMk/>
          <pc:sldMk cId="2943172521" sldId="2147475860"/>
        </pc:sldMkLst>
      </pc:sldChg>
      <pc:sldChg chg="add del ord">
        <pc:chgData name="Raphaella ASHRAF" userId="5247841d-d595-4c30-b58a-9906097315c5" providerId="ADAL" clId="{49E1EDC4-949C-4C9A-9207-A653EB98B0DF}" dt="2024-11-19T09:17:18.019" v="4767" actId="47"/>
        <pc:sldMkLst>
          <pc:docMk/>
          <pc:sldMk cId="2221105946" sldId="2147475861"/>
        </pc:sldMkLst>
      </pc:sldChg>
      <pc:sldChg chg="add del ord">
        <pc:chgData name="Raphaella ASHRAF" userId="5247841d-d595-4c30-b58a-9906097315c5" providerId="ADAL" clId="{49E1EDC4-949C-4C9A-9207-A653EB98B0DF}" dt="2024-11-19T09:17:18.019" v="4767" actId="47"/>
        <pc:sldMkLst>
          <pc:docMk/>
          <pc:sldMk cId="3738061920" sldId="2147475862"/>
        </pc:sldMkLst>
      </pc:sldChg>
      <pc:sldChg chg="add del ord">
        <pc:chgData name="Raphaella ASHRAF" userId="5247841d-d595-4c30-b58a-9906097315c5" providerId="ADAL" clId="{49E1EDC4-949C-4C9A-9207-A653EB98B0DF}" dt="2024-11-19T09:17:18.019" v="4767" actId="47"/>
        <pc:sldMkLst>
          <pc:docMk/>
          <pc:sldMk cId="425205914" sldId="2147475863"/>
        </pc:sldMkLst>
      </pc:sldChg>
      <pc:sldChg chg="add del ord">
        <pc:chgData name="Raphaella ASHRAF" userId="5247841d-d595-4c30-b58a-9906097315c5" providerId="ADAL" clId="{49E1EDC4-949C-4C9A-9207-A653EB98B0DF}" dt="2024-11-19T09:17:18.019" v="4767" actId="47"/>
        <pc:sldMkLst>
          <pc:docMk/>
          <pc:sldMk cId="2656529678" sldId="2147475864"/>
        </pc:sldMkLst>
      </pc:sldChg>
      <pc:sldChg chg="add del ord">
        <pc:chgData name="Raphaella ASHRAF" userId="5247841d-d595-4c30-b58a-9906097315c5" providerId="ADAL" clId="{49E1EDC4-949C-4C9A-9207-A653EB98B0DF}" dt="2024-11-19T09:17:18.019" v="4767" actId="47"/>
        <pc:sldMkLst>
          <pc:docMk/>
          <pc:sldMk cId="636055593" sldId="2147475865"/>
        </pc:sldMkLst>
      </pc:sldChg>
      <pc:sldChg chg="add del ord">
        <pc:chgData name="Raphaella ASHRAF" userId="5247841d-d595-4c30-b58a-9906097315c5" providerId="ADAL" clId="{49E1EDC4-949C-4C9A-9207-A653EB98B0DF}" dt="2024-11-19T09:17:18.019" v="4767" actId="47"/>
        <pc:sldMkLst>
          <pc:docMk/>
          <pc:sldMk cId="3848662373" sldId="2147475866"/>
        </pc:sldMkLst>
      </pc:sldChg>
      <pc:sldChg chg="add del ord">
        <pc:chgData name="Raphaella ASHRAF" userId="5247841d-d595-4c30-b58a-9906097315c5" providerId="ADAL" clId="{49E1EDC4-949C-4C9A-9207-A653EB98B0DF}" dt="2024-11-19T09:17:18.019" v="4767" actId="47"/>
        <pc:sldMkLst>
          <pc:docMk/>
          <pc:sldMk cId="613967442" sldId="2147475867"/>
        </pc:sldMkLst>
      </pc:sldChg>
      <pc:sldChg chg="add del ord">
        <pc:chgData name="Raphaella ASHRAF" userId="5247841d-d595-4c30-b58a-9906097315c5" providerId="ADAL" clId="{49E1EDC4-949C-4C9A-9207-A653EB98B0DF}" dt="2024-11-19T09:17:18.019" v="4767" actId="47"/>
        <pc:sldMkLst>
          <pc:docMk/>
          <pc:sldMk cId="2084620699" sldId="2147475868"/>
        </pc:sldMkLst>
      </pc:sldChg>
      <pc:sldChg chg="add del ord">
        <pc:chgData name="Raphaella ASHRAF" userId="5247841d-d595-4c30-b58a-9906097315c5" providerId="ADAL" clId="{49E1EDC4-949C-4C9A-9207-A653EB98B0DF}" dt="2024-11-19T09:17:18.019" v="4767" actId="47"/>
        <pc:sldMkLst>
          <pc:docMk/>
          <pc:sldMk cId="35514187" sldId="2147475869"/>
        </pc:sldMkLst>
      </pc:sldChg>
      <pc:sldChg chg="add del ord">
        <pc:chgData name="Raphaella ASHRAF" userId="5247841d-d595-4c30-b58a-9906097315c5" providerId="ADAL" clId="{49E1EDC4-949C-4C9A-9207-A653EB98B0DF}" dt="2024-11-19T09:17:18.019" v="4767" actId="47"/>
        <pc:sldMkLst>
          <pc:docMk/>
          <pc:sldMk cId="1972202698" sldId="2147475870"/>
        </pc:sldMkLst>
      </pc:sldChg>
      <pc:sldChg chg="add del ord">
        <pc:chgData name="Raphaella ASHRAF" userId="5247841d-d595-4c30-b58a-9906097315c5" providerId="ADAL" clId="{49E1EDC4-949C-4C9A-9207-A653EB98B0DF}" dt="2024-11-19T09:17:18.019" v="4767" actId="47"/>
        <pc:sldMkLst>
          <pc:docMk/>
          <pc:sldMk cId="153650535" sldId="2147475871"/>
        </pc:sldMkLst>
      </pc:sldChg>
      <pc:sldChg chg="add del ord">
        <pc:chgData name="Raphaella ASHRAF" userId="5247841d-d595-4c30-b58a-9906097315c5" providerId="ADAL" clId="{49E1EDC4-949C-4C9A-9207-A653EB98B0DF}" dt="2024-11-19T09:17:18.019" v="4767" actId="47"/>
        <pc:sldMkLst>
          <pc:docMk/>
          <pc:sldMk cId="4248487812" sldId="2147475872"/>
        </pc:sldMkLst>
      </pc:sldChg>
      <pc:sldChg chg="add del ord">
        <pc:chgData name="Raphaella ASHRAF" userId="5247841d-d595-4c30-b58a-9906097315c5" providerId="ADAL" clId="{49E1EDC4-949C-4C9A-9207-A653EB98B0DF}" dt="2024-11-19T09:17:18.019" v="4767" actId="47"/>
        <pc:sldMkLst>
          <pc:docMk/>
          <pc:sldMk cId="3995837718" sldId="2147475873"/>
        </pc:sldMkLst>
      </pc:sldChg>
      <pc:sldChg chg="add del ord">
        <pc:chgData name="Raphaella ASHRAF" userId="5247841d-d595-4c30-b58a-9906097315c5" providerId="ADAL" clId="{49E1EDC4-949C-4C9A-9207-A653EB98B0DF}" dt="2024-11-19T09:17:18.019" v="4767" actId="47"/>
        <pc:sldMkLst>
          <pc:docMk/>
          <pc:sldMk cId="1799467423" sldId="2147475874"/>
        </pc:sldMkLst>
      </pc:sldChg>
      <pc:sldChg chg="add del ord">
        <pc:chgData name="Raphaella ASHRAF" userId="5247841d-d595-4c30-b58a-9906097315c5" providerId="ADAL" clId="{49E1EDC4-949C-4C9A-9207-A653EB98B0DF}" dt="2024-11-19T09:17:18.019" v="4767" actId="47"/>
        <pc:sldMkLst>
          <pc:docMk/>
          <pc:sldMk cId="2673628312" sldId="2147475875"/>
        </pc:sldMkLst>
      </pc:sldChg>
      <pc:sldChg chg="add del ord">
        <pc:chgData name="Raphaella ASHRAF" userId="5247841d-d595-4c30-b58a-9906097315c5" providerId="ADAL" clId="{49E1EDC4-949C-4C9A-9207-A653EB98B0DF}" dt="2024-11-19T09:17:18.019" v="4767" actId="47"/>
        <pc:sldMkLst>
          <pc:docMk/>
          <pc:sldMk cId="713612514" sldId="2147475876"/>
        </pc:sldMkLst>
      </pc:sldChg>
      <pc:sldChg chg="add del ord">
        <pc:chgData name="Raphaella ASHRAF" userId="5247841d-d595-4c30-b58a-9906097315c5" providerId="ADAL" clId="{49E1EDC4-949C-4C9A-9207-A653EB98B0DF}" dt="2024-11-19T09:17:18.019" v="4767" actId="47"/>
        <pc:sldMkLst>
          <pc:docMk/>
          <pc:sldMk cId="2437364578" sldId="2147475877"/>
        </pc:sldMkLst>
      </pc:sldChg>
      <pc:sldChg chg="add del ord">
        <pc:chgData name="Raphaella ASHRAF" userId="5247841d-d595-4c30-b58a-9906097315c5" providerId="ADAL" clId="{49E1EDC4-949C-4C9A-9207-A653EB98B0DF}" dt="2024-11-19T09:17:18.019" v="4767" actId="47"/>
        <pc:sldMkLst>
          <pc:docMk/>
          <pc:sldMk cId="3194040644" sldId="2147475878"/>
        </pc:sldMkLst>
      </pc:sldChg>
      <pc:sldChg chg="add del ord">
        <pc:chgData name="Raphaella ASHRAF" userId="5247841d-d595-4c30-b58a-9906097315c5" providerId="ADAL" clId="{49E1EDC4-949C-4C9A-9207-A653EB98B0DF}" dt="2024-11-19T09:17:18.019" v="4767" actId="47"/>
        <pc:sldMkLst>
          <pc:docMk/>
          <pc:sldMk cId="3296080281" sldId="2147475879"/>
        </pc:sldMkLst>
      </pc:sldChg>
      <pc:sldChg chg="add del ord">
        <pc:chgData name="Raphaella ASHRAF" userId="5247841d-d595-4c30-b58a-9906097315c5" providerId="ADAL" clId="{49E1EDC4-949C-4C9A-9207-A653EB98B0DF}" dt="2024-11-19T09:17:18.019" v="4767" actId="47"/>
        <pc:sldMkLst>
          <pc:docMk/>
          <pc:sldMk cId="3103979256" sldId="2147475880"/>
        </pc:sldMkLst>
      </pc:sldChg>
      <pc:sldChg chg="add del ord">
        <pc:chgData name="Raphaella ASHRAF" userId="5247841d-d595-4c30-b58a-9906097315c5" providerId="ADAL" clId="{49E1EDC4-949C-4C9A-9207-A653EB98B0DF}" dt="2024-11-19T09:17:18.019" v="4767" actId="47"/>
        <pc:sldMkLst>
          <pc:docMk/>
          <pc:sldMk cId="2900535778" sldId="2147475881"/>
        </pc:sldMkLst>
      </pc:sldChg>
      <pc:sldChg chg="add del ord">
        <pc:chgData name="Raphaella ASHRAF" userId="5247841d-d595-4c30-b58a-9906097315c5" providerId="ADAL" clId="{49E1EDC4-949C-4C9A-9207-A653EB98B0DF}" dt="2024-11-19T09:17:18.019" v="4767" actId="47"/>
        <pc:sldMkLst>
          <pc:docMk/>
          <pc:sldMk cId="209109887" sldId="2147475882"/>
        </pc:sldMkLst>
      </pc:sldChg>
      <pc:sldChg chg="add del ord">
        <pc:chgData name="Raphaella ASHRAF" userId="5247841d-d595-4c30-b58a-9906097315c5" providerId="ADAL" clId="{49E1EDC4-949C-4C9A-9207-A653EB98B0DF}" dt="2024-11-19T09:17:18.019" v="4767" actId="47"/>
        <pc:sldMkLst>
          <pc:docMk/>
          <pc:sldMk cId="1517047330" sldId="2147475883"/>
        </pc:sldMkLst>
      </pc:sldChg>
      <pc:sldChg chg="add del ord">
        <pc:chgData name="Raphaella ASHRAF" userId="5247841d-d595-4c30-b58a-9906097315c5" providerId="ADAL" clId="{49E1EDC4-949C-4C9A-9207-A653EB98B0DF}" dt="2024-11-19T09:17:18.019" v="4767" actId="47"/>
        <pc:sldMkLst>
          <pc:docMk/>
          <pc:sldMk cId="2509249930" sldId="2147475884"/>
        </pc:sldMkLst>
      </pc:sldChg>
      <pc:sldChg chg="add del ord">
        <pc:chgData name="Raphaella ASHRAF" userId="5247841d-d595-4c30-b58a-9906097315c5" providerId="ADAL" clId="{49E1EDC4-949C-4C9A-9207-A653EB98B0DF}" dt="2024-11-19T09:17:18.019" v="4767" actId="47"/>
        <pc:sldMkLst>
          <pc:docMk/>
          <pc:sldMk cId="3217553474" sldId="2147475885"/>
        </pc:sldMkLst>
      </pc:sldChg>
      <pc:sldChg chg="add del ord">
        <pc:chgData name="Raphaella ASHRAF" userId="5247841d-d595-4c30-b58a-9906097315c5" providerId="ADAL" clId="{49E1EDC4-949C-4C9A-9207-A653EB98B0DF}" dt="2024-11-19T09:17:18.019" v="4767" actId="47"/>
        <pc:sldMkLst>
          <pc:docMk/>
          <pc:sldMk cId="3476823707" sldId="2147475886"/>
        </pc:sldMkLst>
      </pc:sldChg>
      <pc:sldChg chg="add del ord">
        <pc:chgData name="Raphaella ASHRAF" userId="5247841d-d595-4c30-b58a-9906097315c5" providerId="ADAL" clId="{49E1EDC4-949C-4C9A-9207-A653EB98B0DF}" dt="2024-11-19T09:17:18.019" v="4767" actId="47"/>
        <pc:sldMkLst>
          <pc:docMk/>
          <pc:sldMk cId="1501359789" sldId="2147475887"/>
        </pc:sldMkLst>
      </pc:sldChg>
      <pc:sldChg chg="add del ord">
        <pc:chgData name="Raphaella ASHRAF" userId="5247841d-d595-4c30-b58a-9906097315c5" providerId="ADAL" clId="{49E1EDC4-949C-4C9A-9207-A653EB98B0DF}" dt="2024-11-19T09:17:18.019" v="4767" actId="47"/>
        <pc:sldMkLst>
          <pc:docMk/>
          <pc:sldMk cId="3486909300" sldId="2147475888"/>
        </pc:sldMkLst>
      </pc:sldChg>
      <pc:sldChg chg="add del ord">
        <pc:chgData name="Raphaella ASHRAF" userId="5247841d-d595-4c30-b58a-9906097315c5" providerId="ADAL" clId="{49E1EDC4-949C-4C9A-9207-A653EB98B0DF}" dt="2024-11-19T09:17:18.019" v="4767" actId="47"/>
        <pc:sldMkLst>
          <pc:docMk/>
          <pc:sldMk cId="3384103333" sldId="2147475889"/>
        </pc:sldMkLst>
      </pc:sldChg>
      <pc:sldChg chg="add del ord">
        <pc:chgData name="Raphaella ASHRAF" userId="5247841d-d595-4c30-b58a-9906097315c5" providerId="ADAL" clId="{49E1EDC4-949C-4C9A-9207-A653EB98B0DF}" dt="2024-11-19T09:17:18.019" v="4767" actId="47"/>
        <pc:sldMkLst>
          <pc:docMk/>
          <pc:sldMk cId="27241860" sldId="2147475890"/>
        </pc:sldMkLst>
      </pc:sldChg>
      <pc:sldChg chg="add del ord">
        <pc:chgData name="Raphaella ASHRAF" userId="5247841d-d595-4c30-b58a-9906097315c5" providerId="ADAL" clId="{49E1EDC4-949C-4C9A-9207-A653EB98B0DF}" dt="2024-11-19T09:17:18.019" v="4767" actId="47"/>
        <pc:sldMkLst>
          <pc:docMk/>
          <pc:sldMk cId="976367341" sldId="2147475891"/>
        </pc:sldMkLst>
      </pc:sldChg>
      <pc:sldChg chg="add del ord">
        <pc:chgData name="Raphaella ASHRAF" userId="5247841d-d595-4c30-b58a-9906097315c5" providerId="ADAL" clId="{49E1EDC4-949C-4C9A-9207-A653EB98B0DF}" dt="2024-11-19T09:17:18.019" v="4767" actId="47"/>
        <pc:sldMkLst>
          <pc:docMk/>
          <pc:sldMk cId="2406916796" sldId="2147475892"/>
        </pc:sldMkLst>
      </pc:sldChg>
      <pc:sldChg chg="add del ord">
        <pc:chgData name="Raphaella ASHRAF" userId="5247841d-d595-4c30-b58a-9906097315c5" providerId="ADAL" clId="{49E1EDC4-949C-4C9A-9207-A653EB98B0DF}" dt="2024-11-19T09:17:18.019" v="4767" actId="47"/>
        <pc:sldMkLst>
          <pc:docMk/>
          <pc:sldMk cId="4168533751" sldId="2147475893"/>
        </pc:sldMkLst>
      </pc:sldChg>
      <pc:sldChg chg="add del ord">
        <pc:chgData name="Raphaella ASHRAF" userId="5247841d-d595-4c30-b58a-9906097315c5" providerId="ADAL" clId="{49E1EDC4-949C-4C9A-9207-A653EB98B0DF}" dt="2024-11-19T09:17:18.019" v="4767" actId="47"/>
        <pc:sldMkLst>
          <pc:docMk/>
          <pc:sldMk cId="1667588318" sldId="2147475894"/>
        </pc:sldMkLst>
      </pc:sldChg>
      <pc:sldChg chg="add del ord">
        <pc:chgData name="Raphaella ASHRAF" userId="5247841d-d595-4c30-b58a-9906097315c5" providerId="ADAL" clId="{49E1EDC4-949C-4C9A-9207-A653EB98B0DF}" dt="2024-11-19T09:17:18.019" v="4767" actId="47"/>
        <pc:sldMkLst>
          <pc:docMk/>
          <pc:sldMk cId="4275822079" sldId="2147475895"/>
        </pc:sldMkLst>
      </pc:sldChg>
      <pc:sldChg chg="add del ord">
        <pc:chgData name="Raphaella ASHRAF" userId="5247841d-d595-4c30-b58a-9906097315c5" providerId="ADAL" clId="{49E1EDC4-949C-4C9A-9207-A653EB98B0DF}" dt="2024-11-19T09:17:18.019" v="4767" actId="47"/>
        <pc:sldMkLst>
          <pc:docMk/>
          <pc:sldMk cId="1684462410" sldId="2147475896"/>
        </pc:sldMkLst>
      </pc:sldChg>
      <pc:sldChg chg="add del ord">
        <pc:chgData name="Raphaella ASHRAF" userId="5247841d-d595-4c30-b58a-9906097315c5" providerId="ADAL" clId="{49E1EDC4-949C-4C9A-9207-A653EB98B0DF}" dt="2024-11-19T09:17:18.019" v="4767" actId="47"/>
        <pc:sldMkLst>
          <pc:docMk/>
          <pc:sldMk cId="3884653226" sldId="2147475897"/>
        </pc:sldMkLst>
      </pc:sldChg>
      <pc:sldChg chg="add del ord">
        <pc:chgData name="Raphaella ASHRAF" userId="5247841d-d595-4c30-b58a-9906097315c5" providerId="ADAL" clId="{49E1EDC4-949C-4C9A-9207-A653EB98B0DF}" dt="2024-11-19T09:17:18.019" v="4767" actId="47"/>
        <pc:sldMkLst>
          <pc:docMk/>
          <pc:sldMk cId="1312274298" sldId="2147475898"/>
        </pc:sldMkLst>
      </pc:sldChg>
      <pc:sldChg chg="add del ord">
        <pc:chgData name="Raphaella ASHRAF" userId="5247841d-d595-4c30-b58a-9906097315c5" providerId="ADAL" clId="{49E1EDC4-949C-4C9A-9207-A653EB98B0DF}" dt="2024-11-19T09:17:18.019" v="4767" actId="47"/>
        <pc:sldMkLst>
          <pc:docMk/>
          <pc:sldMk cId="3684341980" sldId="2147475899"/>
        </pc:sldMkLst>
      </pc:sldChg>
      <pc:sldChg chg="add del ord">
        <pc:chgData name="Raphaella ASHRAF" userId="5247841d-d595-4c30-b58a-9906097315c5" providerId="ADAL" clId="{49E1EDC4-949C-4C9A-9207-A653EB98B0DF}" dt="2024-11-19T09:17:18.019" v="4767" actId="47"/>
        <pc:sldMkLst>
          <pc:docMk/>
          <pc:sldMk cId="3604032990" sldId="2147475900"/>
        </pc:sldMkLst>
      </pc:sldChg>
      <pc:sldChg chg="add del ord">
        <pc:chgData name="Raphaella ASHRAF" userId="5247841d-d595-4c30-b58a-9906097315c5" providerId="ADAL" clId="{49E1EDC4-949C-4C9A-9207-A653EB98B0DF}" dt="2024-11-19T09:17:18.019" v="4767" actId="47"/>
        <pc:sldMkLst>
          <pc:docMk/>
          <pc:sldMk cId="4041864514" sldId="2147475901"/>
        </pc:sldMkLst>
      </pc:sldChg>
      <pc:sldChg chg="add del ord">
        <pc:chgData name="Raphaella ASHRAF" userId="5247841d-d595-4c30-b58a-9906097315c5" providerId="ADAL" clId="{49E1EDC4-949C-4C9A-9207-A653EB98B0DF}" dt="2024-11-19T09:17:18.019" v="4767" actId="47"/>
        <pc:sldMkLst>
          <pc:docMk/>
          <pc:sldMk cId="980055033" sldId="2147475902"/>
        </pc:sldMkLst>
      </pc:sldChg>
      <pc:sldChg chg="add del ord">
        <pc:chgData name="Raphaella ASHRAF" userId="5247841d-d595-4c30-b58a-9906097315c5" providerId="ADAL" clId="{49E1EDC4-949C-4C9A-9207-A653EB98B0DF}" dt="2024-11-19T09:17:18.019" v="4767" actId="47"/>
        <pc:sldMkLst>
          <pc:docMk/>
          <pc:sldMk cId="1351363004" sldId="2147475903"/>
        </pc:sldMkLst>
      </pc:sldChg>
      <pc:sldChg chg="add del ord">
        <pc:chgData name="Raphaella ASHRAF" userId="5247841d-d595-4c30-b58a-9906097315c5" providerId="ADAL" clId="{49E1EDC4-949C-4C9A-9207-A653EB98B0DF}" dt="2024-11-19T09:17:18.019" v="4767" actId="47"/>
        <pc:sldMkLst>
          <pc:docMk/>
          <pc:sldMk cId="4115209463" sldId="2147475904"/>
        </pc:sldMkLst>
      </pc:sldChg>
      <pc:sldChg chg="add del ord">
        <pc:chgData name="Raphaella ASHRAF" userId="5247841d-d595-4c30-b58a-9906097315c5" providerId="ADAL" clId="{49E1EDC4-949C-4C9A-9207-A653EB98B0DF}" dt="2024-11-19T09:17:18.019" v="4767" actId="47"/>
        <pc:sldMkLst>
          <pc:docMk/>
          <pc:sldMk cId="3562726525" sldId="2147475905"/>
        </pc:sldMkLst>
      </pc:sldChg>
      <pc:sldChg chg="add del ord">
        <pc:chgData name="Raphaella ASHRAF" userId="5247841d-d595-4c30-b58a-9906097315c5" providerId="ADAL" clId="{49E1EDC4-949C-4C9A-9207-A653EB98B0DF}" dt="2024-11-19T09:17:18.019" v="4767" actId="47"/>
        <pc:sldMkLst>
          <pc:docMk/>
          <pc:sldMk cId="575150029" sldId="2147475906"/>
        </pc:sldMkLst>
      </pc:sldChg>
      <pc:sldChg chg="add del ord">
        <pc:chgData name="Raphaella ASHRAF" userId="5247841d-d595-4c30-b58a-9906097315c5" providerId="ADAL" clId="{49E1EDC4-949C-4C9A-9207-A653EB98B0DF}" dt="2024-11-19T09:17:18.019" v="4767" actId="47"/>
        <pc:sldMkLst>
          <pc:docMk/>
          <pc:sldMk cId="696395250" sldId="2147475907"/>
        </pc:sldMkLst>
      </pc:sldChg>
      <pc:sldChg chg="add del ord">
        <pc:chgData name="Raphaella ASHRAF" userId="5247841d-d595-4c30-b58a-9906097315c5" providerId="ADAL" clId="{49E1EDC4-949C-4C9A-9207-A653EB98B0DF}" dt="2024-11-19T09:17:18.019" v="4767" actId="47"/>
        <pc:sldMkLst>
          <pc:docMk/>
          <pc:sldMk cId="4125840779" sldId="2147475908"/>
        </pc:sldMkLst>
      </pc:sldChg>
      <pc:sldChg chg="add del ord">
        <pc:chgData name="Raphaella ASHRAF" userId="5247841d-d595-4c30-b58a-9906097315c5" providerId="ADAL" clId="{49E1EDC4-949C-4C9A-9207-A653EB98B0DF}" dt="2024-11-19T09:17:18.019" v="4767" actId="47"/>
        <pc:sldMkLst>
          <pc:docMk/>
          <pc:sldMk cId="384341443" sldId="2147475909"/>
        </pc:sldMkLst>
      </pc:sldChg>
      <pc:sldChg chg="add del ord">
        <pc:chgData name="Raphaella ASHRAF" userId="5247841d-d595-4c30-b58a-9906097315c5" providerId="ADAL" clId="{49E1EDC4-949C-4C9A-9207-A653EB98B0DF}" dt="2024-11-19T09:17:18.019" v="4767" actId="47"/>
        <pc:sldMkLst>
          <pc:docMk/>
          <pc:sldMk cId="2941704224" sldId="2147475910"/>
        </pc:sldMkLst>
      </pc:sldChg>
      <pc:sldChg chg="add del ord">
        <pc:chgData name="Raphaella ASHRAF" userId="5247841d-d595-4c30-b58a-9906097315c5" providerId="ADAL" clId="{49E1EDC4-949C-4C9A-9207-A653EB98B0DF}" dt="2024-11-19T09:17:18.019" v="4767" actId="47"/>
        <pc:sldMkLst>
          <pc:docMk/>
          <pc:sldMk cId="2935402425" sldId="2147475911"/>
        </pc:sldMkLst>
      </pc:sldChg>
      <pc:sldChg chg="add del ord">
        <pc:chgData name="Raphaella ASHRAF" userId="5247841d-d595-4c30-b58a-9906097315c5" providerId="ADAL" clId="{49E1EDC4-949C-4C9A-9207-A653EB98B0DF}" dt="2024-11-19T09:17:18.019" v="4767" actId="47"/>
        <pc:sldMkLst>
          <pc:docMk/>
          <pc:sldMk cId="1505509001" sldId="2147475912"/>
        </pc:sldMkLst>
      </pc:sldChg>
      <pc:sldChg chg="add del ord">
        <pc:chgData name="Raphaella ASHRAF" userId="5247841d-d595-4c30-b58a-9906097315c5" providerId="ADAL" clId="{49E1EDC4-949C-4C9A-9207-A653EB98B0DF}" dt="2024-11-19T09:17:18.019" v="4767" actId="47"/>
        <pc:sldMkLst>
          <pc:docMk/>
          <pc:sldMk cId="72921232" sldId="2147475913"/>
        </pc:sldMkLst>
      </pc:sldChg>
      <pc:sldChg chg="add del ord">
        <pc:chgData name="Raphaella ASHRAF" userId="5247841d-d595-4c30-b58a-9906097315c5" providerId="ADAL" clId="{49E1EDC4-949C-4C9A-9207-A653EB98B0DF}" dt="2024-11-19T09:17:18.019" v="4767" actId="47"/>
        <pc:sldMkLst>
          <pc:docMk/>
          <pc:sldMk cId="1774625606" sldId="2147475914"/>
        </pc:sldMkLst>
      </pc:sldChg>
      <pc:sldChg chg="add del ord">
        <pc:chgData name="Raphaella ASHRAF" userId="5247841d-d595-4c30-b58a-9906097315c5" providerId="ADAL" clId="{49E1EDC4-949C-4C9A-9207-A653EB98B0DF}" dt="2024-11-19T09:17:18.019" v="4767" actId="47"/>
        <pc:sldMkLst>
          <pc:docMk/>
          <pc:sldMk cId="1112866052" sldId="2147475915"/>
        </pc:sldMkLst>
      </pc:sldChg>
      <pc:sldChg chg="add del ord">
        <pc:chgData name="Raphaella ASHRAF" userId="5247841d-d595-4c30-b58a-9906097315c5" providerId="ADAL" clId="{49E1EDC4-949C-4C9A-9207-A653EB98B0DF}" dt="2024-11-19T09:17:18.019" v="4767" actId="47"/>
        <pc:sldMkLst>
          <pc:docMk/>
          <pc:sldMk cId="2821788422" sldId="2147475916"/>
        </pc:sldMkLst>
      </pc:sldChg>
      <pc:sldChg chg="add del ord">
        <pc:chgData name="Raphaella ASHRAF" userId="5247841d-d595-4c30-b58a-9906097315c5" providerId="ADAL" clId="{49E1EDC4-949C-4C9A-9207-A653EB98B0DF}" dt="2024-11-19T09:17:18.019" v="4767" actId="47"/>
        <pc:sldMkLst>
          <pc:docMk/>
          <pc:sldMk cId="3654411937" sldId="2147475917"/>
        </pc:sldMkLst>
      </pc:sldChg>
      <pc:sldChg chg="add del ord">
        <pc:chgData name="Raphaella ASHRAF" userId="5247841d-d595-4c30-b58a-9906097315c5" providerId="ADAL" clId="{49E1EDC4-949C-4C9A-9207-A653EB98B0DF}" dt="2024-11-19T09:17:18.019" v="4767" actId="47"/>
        <pc:sldMkLst>
          <pc:docMk/>
          <pc:sldMk cId="3813568836" sldId="2147475918"/>
        </pc:sldMkLst>
      </pc:sldChg>
      <pc:sldChg chg="add del ord">
        <pc:chgData name="Raphaella ASHRAF" userId="5247841d-d595-4c30-b58a-9906097315c5" providerId="ADAL" clId="{49E1EDC4-949C-4C9A-9207-A653EB98B0DF}" dt="2024-11-19T09:17:18.019" v="4767" actId="47"/>
        <pc:sldMkLst>
          <pc:docMk/>
          <pc:sldMk cId="3656600895" sldId="2147475919"/>
        </pc:sldMkLst>
      </pc:sldChg>
      <pc:sldChg chg="add del ord">
        <pc:chgData name="Raphaella ASHRAF" userId="5247841d-d595-4c30-b58a-9906097315c5" providerId="ADAL" clId="{49E1EDC4-949C-4C9A-9207-A653EB98B0DF}" dt="2024-11-19T09:17:18.019" v="4767" actId="47"/>
        <pc:sldMkLst>
          <pc:docMk/>
          <pc:sldMk cId="3450773185" sldId="2147475920"/>
        </pc:sldMkLst>
      </pc:sldChg>
      <pc:sldChg chg="add del ord">
        <pc:chgData name="Raphaella ASHRAF" userId="5247841d-d595-4c30-b58a-9906097315c5" providerId="ADAL" clId="{49E1EDC4-949C-4C9A-9207-A653EB98B0DF}" dt="2024-11-19T09:17:18.019" v="4767" actId="47"/>
        <pc:sldMkLst>
          <pc:docMk/>
          <pc:sldMk cId="4124361777" sldId="2147475921"/>
        </pc:sldMkLst>
      </pc:sldChg>
      <pc:sldChg chg="add del ord">
        <pc:chgData name="Raphaella ASHRAF" userId="5247841d-d595-4c30-b58a-9906097315c5" providerId="ADAL" clId="{49E1EDC4-949C-4C9A-9207-A653EB98B0DF}" dt="2024-11-19T09:17:18.019" v="4767" actId="47"/>
        <pc:sldMkLst>
          <pc:docMk/>
          <pc:sldMk cId="1970840813" sldId="2147475922"/>
        </pc:sldMkLst>
      </pc:sldChg>
      <pc:sldChg chg="add del ord">
        <pc:chgData name="Raphaella ASHRAF" userId="5247841d-d595-4c30-b58a-9906097315c5" providerId="ADAL" clId="{49E1EDC4-949C-4C9A-9207-A653EB98B0DF}" dt="2024-11-19T09:17:18.019" v="4767" actId="47"/>
        <pc:sldMkLst>
          <pc:docMk/>
          <pc:sldMk cId="776242106" sldId="2147475923"/>
        </pc:sldMkLst>
      </pc:sldChg>
      <pc:sldChg chg="add del ord">
        <pc:chgData name="Raphaella ASHRAF" userId="5247841d-d595-4c30-b58a-9906097315c5" providerId="ADAL" clId="{49E1EDC4-949C-4C9A-9207-A653EB98B0DF}" dt="2024-11-19T09:17:18.019" v="4767" actId="47"/>
        <pc:sldMkLst>
          <pc:docMk/>
          <pc:sldMk cId="362928225" sldId="2147475924"/>
        </pc:sldMkLst>
      </pc:sldChg>
      <pc:sldChg chg="add del ord">
        <pc:chgData name="Raphaella ASHRAF" userId="5247841d-d595-4c30-b58a-9906097315c5" providerId="ADAL" clId="{49E1EDC4-949C-4C9A-9207-A653EB98B0DF}" dt="2024-11-19T09:17:18.019" v="4767" actId="47"/>
        <pc:sldMkLst>
          <pc:docMk/>
          <pc:sldMk cId="28003362" sldId="2147475925"/>
        </pc:sldMkLst>
      </pc:sldChg>
      <pc:sldChg chg="add del ord">
        <pc:chgData name="Raphaella ASHRAF" userId="5247841d-d595-4c30-b58a-9906097315c5" providerId="ADAL" clId="{49E1EDC4-949C-4C9A-9207-A653EB98B0DF}" dt="2024-11-19T09:17:18.019" v="4767" actId="47"/>
        <pc:sldMkLst>
          <pc:docMk/>
          <pc:sldMk cId="2281658924" sldId="2147475926"/>
        </pc:sldMkLst>
      </pc:sldChg>
      <pc:sldChg chg="add del ord">
        <pc:chgData name="Raphaella ASHRAF" userId="5247841d-d595-4c30-b58a-9906097315c5" providerId="ADAL" clId="{49E1EDC4-949C-4C9A-9207-A653EB98B0DF}" dt="2024-11-19T09:17:18.019" v="4767" actId="47"/>
        <pc:sldMkLst>
          <pc:docMk/>
          <pc:sldMk cId="1525262346" sldId="2147475927"/>
        </pc:sldMkLst>
      </pc:sldChg>
      <pc:sldChg chg="add del ord">
        <pc:chgData name="Raphaella ASHRAF" userId="5247841d-d595-4c30-b58a-9906097315c5" providerId="ADAL" clId="{49E1EDC4-949C-4C9A-9207-A653EB98B0DF}" dt="2024-11-19T09:17:18.019" v="4767" actId="47"/>
        <pc:sldMkLst>
          <pc:docMk/>
          <pc:sldMk cId="11664811" sldId="2147475928"/>
        </pc:sldMkLst>
      </pc:sldChg>
      <pc:sldChg chg="add del ord">
        <pc:chgData name="Raphaella ASHRAF" userId="5247841d-d595-4c30-b58a-9906097315c5" providerId="ADAL" clId="{49E1EDC4-949C-4C9A-9207-A653EB98B0DF}" dt="2024-11-19T09:17:18.019" v="4767" actId="47"/>
        <pc:sldMkLst>
          <pc:docMk/>
          <pc:sldMk cId="2491614354" sldId="2147475929"/>
        </pc:sldMkLst>
      </pc:sldChg>
      <pc:sldChg chg="add del ord">
        <pc:chgData name="Raphaella ASHRAF" userId="5247841d-d595-4c30-b58a-9906097315c5" providerId="ADAL" clId="{49E1EDC4-949C-4C9A-9207-A653EB98B0DF}" dt="2024-11-19T09:17:18.019" v="4767" actId="47"/>
        <pc:sldMkLst>
          <pc:docMk/>
          <pc:sldMk cId="809369735" sldId="2147475930"/>
        </pc:sldMkLst>
      </pc:sldChg>
      <pc:sldChg chg="add del ord">
        <pc:chgData name="Raphaella ASHRAF" userId="5247841d-d595-4c30-b58a-9906097315c5" providerId="ADAL" clId="{49E1EDC4-949C-4C9A-9207-A653EB98B0DF}" dt="2024-11-19T09:17:18.019" v="4767" actId="47"/>
        <pc:sldMkLst>
          <pc:docMk/>
          <pc:sldMk cId="657138096" sldId="2147475931"/>
        </pc:sldMkLst>
      </pc:sldChg>
      <pc:sldChg chg="add del ord">
        <pc:chgData name="Raphaella ASHRAF" userId="5247841d-d595-4c30-b58a-9906097315c5" providerId="ADAL" clId="{49E1EDC4-949C-4C9A-9207-A653EB98B0DF}" dt="2024-11-19T09:17:18.019" v="4767" actId="47"/>
        <pc:sldMkLst>
          <pc:docMk/>
          <pc:sldMk cId="2586501478" sldId="2147475932"/>
        </pc:sldMkLst>
      </pc:sldChg>
      <pc:sldChg chg="add del ord">
        <pc:chgData name="Raphaella ASHRAF" userId="5247841d-d595-4c30-b58a-9906097315c5" providerId="ADAL" clId="{49E1EDC4-949C-4C9A-9207-A653EB98B0DF}" dt="2024-11-19T09:17:18.019" v="4767" actId="47"/>
        <pc:sldMkLst>
          <pc:docMk/>
          <pc:sldMk cId="955374616" sldId="2147475933"/>
        </pc:sldMkLst>
      </pc:sldChg>
      <pc:sldChg chg="add del ord">
        <pc:chgData name="Raphaella ASHRAF" userId="5247841d-d595-4c30-b58a-9906097315c5" providerId="ADAL" clId="{49E1EDC4-949C-4C9A-9207-A653EB98B0DF}" dt="2024-11-19T09:17:18.019" v="4767" actId="47"/>
        <pc:sldMkLst>
          <pc:docMk/>
          <pc:sldMk cId="283212233" sldId="2147475934"/>
        </pc:sldMkLst>
      </pc:sldChg>
      <pc:sldChg chg="add del ord">
        <pc:chgData name="Raphaella ASHRAF" userId="5247841d-d595-4c30-b58a-9906097315c5" providerId="ADAL" clId="{49E1EDC4-949C-4C9A-9207-A653EB98B0DF}" dt="2024-11-19T09:17:18.019" v="4767" actId="47"/>
        <pc:sldMkLst>
          <pc:docMk/>
          <pc:sldMk cId="3415443056" sldId="2147475935"/>
        </pc:sldMkLst>
      </pc:sldChg>
      <pc:sldChg chg="add del ord">
        <pc:chgData name="Raphaella ASHRAF" userId="5247841d-d595-4c30-b58a-9906097315c5" providerId="ADAL" clId="{49E1EDC4-949C-4C9A-9207-A653EB98B0DF}" dt="2024-11-19T09:17:18.019" v="4767" actId="47"/>
        <pc:sldMkLst>
          <pc:docMk/>
          <pc:sldMk cId="569063260" sldId="2147475936"/>
        </pc:sldMkLst>
      </pc:sldChg>
      <pc:sldChg chg="add del ord">
        <pc:chgData name="Raphaella ASHRAF" userId="5247841d-d595-4c30-b58a-9906097315c5" providerId="ADAL" clId="{49E1EDC4-949C-4C9A-9207-A653EB98B0DF}" dt="2024-11-19T09:17:18.019" v="4767" actId="47"/>
        <pc:sldMkLst>
          <pc:docMk/>
          <pc:sldMk cId="1165345739" sldId="2147475937"/>
        </pc:sldMkLst>
      </pc:sldChg>
      <pc:sldChg chg="add del ord">
        <pc:chgData name="Raphaella ASHRAF" userId="5247841d-d595-4c30-b58a-9906097315c5" providerId="ADAL" clId="{49E1EDC4-949C-4C9A-9207-A653EB98B0DF}" dt="2024-11-19T09:17:18.019" v="4767" actId="47"/>
        <pc:sldMkLst>
          <pc:docMk/>
          <pc:sldMk cId="3313531832" sldId="2147475938"/>
        </pc:sldMkLst>
      </pc:sldChg>
      <pc:sldChg chg="add del ord">
        <pc:chgData name="Raphaella ASHRAF" userId="5247841d-d595-4c30-b58a-9906097315c5" providerId="ADAL" clId="{49E1EDC4-949C-4C9A-9207-A653EB98B0DF}" dt="2024-11-19T09:17:18.019" v="4767" actId="47"/>
        <pc:sldMkLst>
          <pc:docMk/>
          <pc:sldMk cId="4256369609" sldId="2147475939"/>
        </pc:sldMkLst>
      </pc:sldChg>
      <pc:sldChg chg="add del ord">
        <pc:chgData name="Raphaella ASHRAF" userId="5247841d-d595-4c30-b58a-9906097315c5" providerId="ADAL" clId="{49E1EDC4-949C-4C9A-9207-A653EB98B0DF}" dt="2024-11-19T09:17:18.019" v="4767" actId="47"/>
        <pc:sldMkLst>
          <pc:docMk/>
          <pc:sldMk cId="2097561971" sldId="2147475940"/>
        </pc:sldMkLst>
      </pc:sldChg>
      <pc:sldChg chg="add del ord">
        <pc:chgData name="Raphaella ASHRAF" userId="5247841d-d595-4c30-b58a-9906097315c5" providerId="ADAL" clId="{49E1EDC4-949C-4C9A-9207-A653EB98B0DF}" dt="2024-11-19T09:17:18.019" v="4767" actId="47"/>
        <pc:sldMkLst>
          <pc:docMk/>
          <pc:sldMk cId="4290201622" sldId="2147475941"/>
        </pc:sldMkLst>
      </pc:sldChg>
      <pc:sldChg chg="add del ord">
        <pc:chgData name="Raphaella ASHRAF" userId="5247841d-d595-4c30-b58a-9906097315c5" providerId="ADAL" clId="{49E1EDC4-949C-4C9A-9207-A653EB98B0DF}" dt="2024-11-19T09:17:18.019" v="4767" actId="47"/>
        <pc:sldMkLst>
          <pc:docMk/>
          <pc:sldMk cId="465500199" sldId="2147475942"/>
        </pc:sldMkLst>
      </pc:sldChg>
      <pc:sldChg chg="add del ord">
        <pc:chgData name="Raphaella ASHRAF" userId="5247841d-d595-4c30-b58a-9906097315c5" providerId="ADAL" clId="{49E1EDC4-949C-4C9A-9207-A653EB98B0DF}" dt="2024-11-19T09:17:18.019" v="4767" actId="47"/>
        <pc:sldMkLst>
          <pc:docMk/>
          <pc:sldMk cId="4142672541" sldId="2147475943"/>
        </pc:sldMkLst>
      </pc:sldChg>
      <pc:sldChg chg="add del ord">
        <pc:chgData name="Raphaella ASHRAF" userId="5247841d-d595-4c30-b58a-9906097315c5" providerId="ADAL" clId="{49E1EDC4-949C-4C9A-9207-A653EB98B0DF}" dt="2024-11-19T09:17:18.019" v="4767" actId="47"/>
        <pc:sldMkLst>
          <pc:docMk/>
          <pc:sldMk cId="3222530744" sldId="2147475944"/>
        </pc:sldMkLst>
      </pc:sldChg>
      <pc:sldChg chg="add del ord">
        <pc:chgData name="Raphaella ASHRAF" userId="5247841d-d595-4c30-b58a-9906097315c5" providerId="ADAL" clId="{49E1EDC4-949C-4C9A-9207-A653EB98B0DF}" dt="2024-11-19T09:17:18.019" v="4767" actId="47"/>
        <pc:sldMkLst>
          <pc:docMk/>
          <pc:sldMk cId="4012887929" sldId="2147475945"/>
        </pc:sldMkLst>
      </pc:sldChg>
      <pc:sldChg chg="add del ord">
        <pc:chgData name="Raphaella ASHRAF" userId="5247841d-d595-4c30-b58a-9906097315c5" providerId="ADAL" clId="{49E1EDC4-949C-4C9A-9207-A653EB98B0DF}" dt="2024-11-19T09:17:18.019" v="4767" actId="47"/>
        <pc:sldMkLst>
          <pc:docMk/>
          <pc:sldMk cId="1208205616" sldId="2147475946"/>
        </pc:sldMkLst>
      </pc:sldChg>
      <pc:sldChg chg="add del ord">
        <pc:chgData name="Raphaella ASHRAF" userId="5247841d-d595-4c30-b58a-9906097315c5" providerId="ADAL" clId="{49E1EDC4-949C-4C9A-9207-A653EB98B0DF}" dt="2024-11-19T09:17:18.019" v="4767" actId="47"/>
        <pc:sldMkLst>
          <pc:docMk/>
          <pc:sldMk cId="588709842" sldId="2147475947"/>
        </pc:sldMkLst>
      </pc:sldChg>
      <pc:sldChg chg="add del ord">
        <pc:chgData name="Raphaella ASHRAF" userId="5247841d-d595-4c30-b58a-9906097315c5" providerId="ADAL" clId="{49E1EDC4-949C-4C9A-9207-A653EB98B0DF}" dt="2024-11-19T09:17:18.019" v="4767" actId="47"/>
        <pc:sldMkLst>
          <pc:docMk/>
          <pc:sldMk cId="3397338055" sldId="2147475948"/>
        </pc:sldMkLst>
      </pc:sldChg>
      <pc:sldChg chg="add del ord">
        <pc:chgData name="Raphaella ASHRAF" userId="5247841d-d595-4c30-b58a-9906097315c5" providerId="ADAL" clId="{49E1EDC4-949C-4C9A-9207-A653EB98B0DF}" dt="2024-11-19T09:17:18.019" v="4767" actId="47"/>
        <pc:sldMkLst>
          <pc:docMk/>
          <pc:sldMk cId="4203767557" sldId="2147475949"/>
        </pc:sldMkLst>
      </pc:sldChg>
      <pc:sldChg chg="add del ord">
        <pc:chgData name="Raphaella ASHRAF" userId="5247841d-d595-4c30-b58a-9906097315c5" providerId="ADAL" clId="{49E1EDC4-949C-4C9A-9207-A653EB98B0DF}" dt="2024-11-19T09:17:18.019" v="4767" actId="47"/>
        <pc:sldMkLst>
          <pc:docMk/>
          <pc:sldMk cId="2859221988" sldId="2147475950"/>
        </pc:sldMkLst>
      </pc:sldChg>
      <pc:sldChg chg="add del ord">
        <pc:chgData name="Raphaella ASHRAF" userId="5247841d-d595-4c30-b58a-9906097315c5" providerId="ADAL" clId="{49E1EDC4-949C-4C9A-9207-A653EB98B0DF}" dt="2024-11-19T09:17:18.019" v="4767" actId="47"/>
        <pc:sldMkLst>
          <pc:docMk/>
          <pc:sldMk cId="2143197297" sldId="2147475951"/>
        </pc:sldMkLst>
      </pc:sldChg>
      <pc:sldChg chg="add del ord">
        <pc:chgData name="Raphaella ASHRAF" userId="5247841d-d595-4c30-b58a-9906097315c5" providerId="ADAL" clId="{49E1EDC4-949C-4C9A-9207-A653EB98B0DF}" dt="2024-11-19T09:17:18.019" v="4767" actId="47"/>
        <pc:sldMkLst>
          <pc:docMk/>
          <pc:sldMk cId="910747341" sldId="2147475952"/>
        </pc:sldMkLst>
      </pc:sldChg>
      <pc:sldChg chg="add del ord">
        <pc:chgData name="Raphaella ASHRAF" userId="5247841d-d595-4c30-b58a-9906097315c5" providerId="ADAL" clId="{49E1EDC4-949C-4C9A-9207-A653EB98B0DF}" dt="2024-11-19T09:17:18.019" v="4767" actId="47"/>
        <pc:sldMkLst>
          <pc:docMk/>
          <pc:sldMk cId="2821804397" sldId="2147475953"/>
        </pc:sldMkLst>
      </pc:sldChg>
      <pc:sldChg chg="add del ord">
        <pc:chgData name="Raphaella ASHRAF" userId="5247841d-d595-4c30-b58a-9906097315c5" providerId="ADAL" clId="{49E1EDC4-949C-4C9A-9207-A653EB98B0DF}" dt="2024-11-19T09:17:18.019" v="4767" actId="47"/>
        <pc:sldMkLst>
          <pc:docMk/>
          <pc:sldMk cId="1471717233" sldId="2147475954"/>
        </pc:sldMkLst>
      </pc:sldChg>
      <pc:sldChg chg="add del ord">
        <pc:chgData name="Raphaella ASHRAF" userId="5247841d-d595-4c30-b58a-9906097315c5" providerId="ADAL" clId="{49E1EDC4-949C-4C9A-9207-A653EB98B0DF}" dt="2024-11-19T09:17:18.019" v="4767" actId="47"/>
        <pc:sldMkLst>
          <pc:docMk/>
          <pc:sldMk cId="2825655473" sldId="2147475955"/>
        </pc:sldMkLst>
      </pc:sldChg>
      <pc:sldChg chg="add del ord">
        <pc:chgData name="Raphaella ASHRAF" userId="5247841d-d595-4c30-b58a-9906097315c5" providerId="ADAL" clId="{49E1EDC4-949C-4C9A-9207-A653EB98B0DF}" dt="2024-11-19T09:17:18.019" v="4767" actId="47"/>
        <pc:sldMkLst>
          <pc:docMk/>
          <pc:sldMk cId="1981088238" sldId="2147475956"/>
        </pc:sldMkLst>
      </pc:sldChg>
      <pc:sldChg chg="add del ord">
        <pc:chgData name="Raphaella ASHRAF" userId="5247841d-d595-4c30-b58a-9906097315c5" providerId="ADAL" clId="{49E1EDC4-949C-4C9A-9207-A653EB98B0DF}" dt="2024-11-19T09:17:18.019" v="4767" actId="47"/>
        <pc:sldMkLst>
          <pc:docMk/>
          <pc:sldMk cId="2052716919" sldId="2147475957"/>
        </pc:sldMkLst>
      </pc:sldChg>
      <pc:sldChg chg="add del ord">
        <pc:chgData name="Raphaella ASHRAF" userId="5247841d-d595-4c30-b58a-9906097315c5" providerId="ADAL" clId="{49E1EDC4-949C-4C9A-9207-A653EB98B0DF}" dt="2024-11-19T09:17:18.019" v="4767" actId="47"/>
        <pc:sldMkLst>
          <pc:docMk/>
          <pc:sldMk cId="3045627471" sldId="2147475958"/>
        </pc:sldMkLst>
      </pc:sldChg>
      <pc:sldChg chg="add del ord">
        <pc:chgData name="Raphaella ASHRAF" userId="5247841d-d595-4c30-b58a-9906097315c5" providerId="ADAL" clId="{49E1EDC4-949C-4C9A-9207-A653EB98B0DF}" dt="2024-11-19T09:17:18.019" v="4767" actId="47"/>
        <pc:sldMkLst>
          <pc:docMk/>
          <pc:sldMk cId="171433651" sldId="2147475959"/>
        </pc:sldMkLst>
      </pc:sldChg>
      <pc:sldChg chg="add del ord">
        <pc:chgData name="Raphaella ASHRAF" userId="5247841d-d595-4c30-b58a-9906097315c5" providerId="ADAL" clId="{49E1EDC4-949C-4C9A-9207-A653EB98B0DF}" dt="2024-11-19T09:17:18.019" v="4767" actId="47"/>
        <pc:sldMkLst>
          <pc:docMk/>
          <pc:sldMk cId="958370519" sldId="2147475960"/>
        </pc:sldMkLst>
      </pc:sldChg>
      <pc:sldChg chg="add del ord">
        <pc:chgData name="Raphaella ASHRAF" userId="5247841d-d595-4c30-b58a-9906097315c5" providerId="ADAL" clId="{49E1EDC4-949C-4C9A-9207-A653EB98B0DF}" dt="2024-11-19T09:17:18.019" v="4767" actId="47"/>
        <pc:sldMkLst>
          <pc:docMk/>
          <pc:sldMk cId="1953179961" sldId="2147475961"/>
        </pc:sldMkLst>
      </pc:sldChg>
      <pc:sldChg chg="add del ord">
        <pc:chgData name="Raphaella ASHRAF" userId="5247841d-d595-4c30-b58a-9906097315c5" providerId="ADAL" clId="{49E1EDC4-949C-4C9A-9207-A653EB98B0DF}" dt="2024-11-19T09:17:18.019" v="4767" actId="47"/>
        <pc:sldMkLst>
          <pc:docMk/>
          <pc:sldMk cId="2609241200" sldId="2147475962"/>
        </pc:sldMkLst>
      </pc:sldChg>
      <pc:sldChg chg="add del ord">
        <pc:chgData name="Raphaella ASHRAF" userId="5247841d-d595-4c30-b58a-9906097315c5" providerId="ADAL" clId="{49E1EDC4-949C-4C9A-9207-A653EB98B0DF}" dt="2024-11-19T09:17:18.019" v="4767" actId="47"/>
        <pc:sldMkLst>
          <pc:docMk/>
          <pc:sldMk cId="3709302651" sldId="2147475963"/>
        </pc:sldMkLst>
      </pc:sldChg>
      <pc:sldChg chg="add del ord">
        <pc:chgData name="Raphaella ASHRAF" userId="5247841d-d595-4c30-b58a-9906097315c5" providerId="ADAL" clId="{49E1EDC4-949C-4C9A-9207-A653EB98B0DF}" dt="2024-11-19T09:17:18.019" v="4767" actId="47"/>
        <pc:sldMkLst>
          <pc:docMk/>
          <pc:sldMk cId="530710033" sldId="2147475964"/>
        </pc:sldMkLst>
      </pc:sldChg>
      <pc:sldChg chg="add del ord">
        <pc:chgData name="Raphaella ASHRAF" userId="5247841d-d595-4c30-b58a-9906097315c5" providerId="ADAL" clId="{49E1EDC4-949C-4C9A-9207-A653EB98B0DF}" dt="2024-11-19T09:17:18.019" v="4767" actId="47"/>
        <pc:sldMkLst>
          <pc:docMk/>
          <pc:sldMk cId="3236656919" sldId="2147475965"/>
        </pc:sldMkLst>
      </pc:sldChg>
      <pc:sldChg chg="add del ord">
        <pc:chgData name="Raphaella ASHRAF" userId="5247841d-d595-4c30-b58a-9906097315c5" providerId="ADAL" clId="{49E1EDC4-949C-4C9A-9207-A653EB98B0DF}" dt="2024-11-19T09:17:18.019" v="4767" actId="47"/>
        <pc:sldMkLst>
          <pc:docMk/>
          <pc:sldMk cId="362314229" sldId="2147475966"/>
        </pc:sldMkLst>
      </pc:sldChg>
      <pc:sldChg chg="add del ord">
        <pc:chgData name="Raphaella ASHRAF" userId="5247841d-d595-4c30-b58a-9906097315c5" providerId="ADAL" clId="{49E1EDC4-949C-4C9A-9207-A653EB98B0DF}" dt="2024-11-19T09:17:18.019" v="4767" actId="47"/>
        <pc:sldMkLst>
          <pc:docMk/>
          <pc:sldMk cId="1422373780" sldId="2147475967"/>
        </pc:sldMkLst>
      </pc:sldChg>
      <pc:sldChg chg="add del ord">
        <pc:chgData name="Raphaella ASHRAF" userId="5247841d-d595-4c30-b58a-9906097315c5" providerId="ADAL" clId="{49E1EDC4-949C-4C9A-9207-A653EB98B0DF}" dt="2024-11-19T09:17:18.019" v="4767" actId="47"/>
        <pc:sldMkLst>
          <pc:docMk/>
          <pc:sldMk cId="3482016882" sldId="2147475968"/>
        </pc:sldMkLst>
      </pc:sldChg>
      <pc:sldChg chg="add del ord">
        <pc:chgData name="Raphaella ASHRAF" userId="5247841d-d595-4c30-b58a-9906097315c5" providerId="ADAL" clId="{49E1EDC4-949C-4C9A-9207-A653EB98B0DF}" dt="2024-11-19T09:17:18.019" v="4767" actId="47"/>
        <pc:sldMkLst>
          <pc:docMk/>
          <pc:sldMk cId="3453750691" sldId="2147475969"/>
        </pc:sldMkLst>
      </pc:sldChg>
      <pc:sldChg chg="add del ord">
        <pc:chgData name="Raphaella ASHRAF" userId="5247841d-d595-4c30-b58a-9906097315c5" providerId="ADAL" clId="{49E1EDC4-949C-4C9A-9207-A653EB98B0DF}" dt="2024-11-19T09:17:18.019" v="4767" actId="47"/>
        <pc:sldMkLst>
          <pc:docMk/>
          <pc:sldMk cId="2251948338" sldId="2147475970"/>
        </pc:sldMkLst>
      </pc:sldChg>
      <pc:sldChg chg="add del ord">
        <pc:chgData name="Raphaella ASHRAF" userId="5247841d-d595-4c30-b58a-9906097315c5" providerId="ADAL" clId="{49E1EDC4-949C-4C9A-9207-A653EB98B0DF}" dt="2024-11-19T09:17:18.019" v="4767" actId="47"/>
        <pc:sldMkLst>
          <pc:docMk/>
          <pc:sldMk cId="114144113" sldId="2147475971"/>
        </pc:sldMkLst>
      </pc:sldChg>
      <pc:sldChg chg="add del ord">
        <pc:chgData name="Raphaella ASHRAF" userId="5247841d-d595-4c30-b58a-9906097315c5" providerId="ADAL" clId="{49E1EDC4-949C-4C9A-9207-A653EB98B0DF}" dt="2024-11-19T09:17:18.019" v="4767" actId="47"/>
        <pc:sldMkLst>
          <pc:docMk/>
          <pc:sldMk cId="147452347" sldId="2147475972"/>
        </pc:sldMkLst>
      </pc:sldChg>
      <pc:sldChg chg="add del ord">
        <pc:chgData name="Raphaella ASHRAF" userId="5247841d-d595-4c30-b58a-9906097315c5" providerId="ADAL" clId="{49E1EDC4-949C-4C9A-9207-A653EB98B0DF}" dt="2024-11-19T09:17:18.019" v="4767" actId="47"/>
        <pc:sldMkLst>
          <pc:docMk/>
          <pc:sldMk cId="2429221636" sldId="2147475973"/>
        </pc:sldMkLst>
      </pc:sldChg>
      <pc:sldChg chg="add del ord">
        <pc:chgData name="Raphaella ASHRAF" userId="5247841d-d595-4c30-b58a-9906097315c5" providerId="ADAL" clId="{49E1EDC4-949C-4C9A-9207-A653EB98B0DF}" dt="2024-11-19T09:17:18.019" v="4767" actId="47"/>
        <pc:sldMkLst>
          <pc:docMk/>
          <pc:sldMk cId="1450642668" sldId="2147475974"/>
        </pc:sldMkLst>
      </pc:sldChg>
      <pc:sldChg chg="add del ord">
        <pc:chgData name="Raphaella ASHRAF" userId="5247841d-d595-4c30-b58a-9906097315c5" providerId="ADAL" clId="{49E1EDC4-949C-4C9A-9207-A653EB98B0DF}" dt="2024-11-19T09:17:18.019" v="4767" actId="47"/>
        <pc:sldMkLst>
          <pc:docMk/>
          <pc:sldMk cId="3474846794" sldId="2147475975"/>
        </pc:sldMkLst>
      </pc:sldChg>
      <pc:sldChg chg="add del ord">
        <pc:chgData name="Raphaella ASHRAF" userId="5247841d-d595-4c30-b58a-9906097315c5" providerId="ADAL" clId="{49E1EDC4-949C-4C9A-9207-A653EB98B0DF}" dt="2024-11-19T09:17:18.019" v="4767" actId="47"/>
        <pc:sldMkLst>
          <pc:docMk/>
          <pc:sldMk cId="2412470974" sldId="2147475976"/>
        </pc:sldMkLst>
      </pc:sldChg>
      <pc:sldChg chg="add del ord">
        <pc:chgData name="Raphaella ASHRAF" userId="5247841d-d595-4c30-b58a-9906097315c5" providerId="ADAL" clId="{49E1EDC4-949C-4C9A-9207-A653EB98B0DF}" dt="2024-11-19T09:17:18.019" v="4767" actId="47"/>
        <pc:sldMkLst>
          <pc:docMk/>
          <pc:sldMk cId="1576603731" sldId="2147475977"/>
        </pc:sldMkLst>
      </pc:sldChg>
      <pc:sldChg chg="add del ord">
        <pc:chgData name="Raphaella ASHRAF" userId="5247841d-d595-4c30-b58a-9906097315c5" providerId="ADAL" clId="{49E1EDC4-949C-4C9A-9207-A653EB98B0DF}" dt="2024-11-19T09:17:18.019" v="4767" actId="47"/>
        <pc:sldMkLst>
          <pc:docMk/>
          <pc:sldMk cId="2947346599" sldId="2147475978"/>
        </pc:sldMkLst>
      </pc:sldChg>
      <pc:sldChg chg="add del ord">
        <pc:chgData name="Raphaella ASHRAF" userId="5247841d-d595-4c30-b58a-9906097315c5" providerId="ADAL" clId="{49E1EDC4-949C-4C9A-9207-A653EB98B0DF}" dt="2024-11-19T09:17:18.019" v="4767" actId="47"/>
        <pc:sldMkLst>
          <pc:docMk/>
          <pc:sldMk cId="1499719207" sldId="2147475979"/>
        </pc:sldMkLst>
      </pc:sldChg>
      <pc:sldChg chg="add del ord">
        <pc:chgData name="Raphaella ASHRAF" userId="5247841d-d595-4c30-b58a-9906097315c5" providerId="ADAL" clId="{49E1EDC4-949C-4C9A-9207-A653EB98B0DF}" dt="2024-11-19T09:17:18.019" v="4767" actId="47"/>
        <pc:sldMkLst>
          <pc:docMk/>
          <pc:sldMk cId="3760509769" sldId="2147475980"/>
        </pc:sldMkLst>
      </pc:sldChg>
      <pc:sldChg chg="add del ord">
        <pc:chgData name="Raphaella ASHRAF" userId="5247841d-d595-4c30-b58a-9906097315c5" providerId="ADAL" clId="{49E1EDC4-949C-4C9A-9207-A653EB98B0DF}" dt="2024-11-19T09:17:18.019" v="4767" actId="47"/>
        <pc:sldMkLst>
          <pc:docMk/>
          <pc:sldMk cId="2274543893" sldId="2147475981"/>
        </pc:sldMkLst>
      </pc:sldChg>
      <pc:sldChg chg="add del ord">
        <pc:chgData name="Raphaella ASHRAF" userId="5247841d-d595-4c30-b58a-9906097315c5" providerId="ADAL" clId="{49E1EDC4-949C-4C9A-9207-A653EB98B0DF}" dt="2024-11-19T09:17:18.019" v="4767" actId="47"/>
        <pc:sldMkLst>
          <pc:docMk/>
          <pc:sldMk cId="3029238763" sldId="2147475982"/>
        </pc:sldMkLst>
      </pc:sldChg>
      <pc:sldChg chg="add del ord">
        <pc:chgData name="Raphaella ASHRAF" userId="5247841d-d595-4c30-b58a-9906097315c5" providerId="ADAL" clId="{49E1EDC4-949C-4C9A-9207-A653EB98B0DF}" dt="2024-11-19T09:17:18.019" v="4767" actId="47"/>
        <pc:sldMkLst>
          <pc:docMk/>
          <pc:sldMk cId="952932693" sldId="2147475983"/>
        </pc:sldMkLst>
      </pc:sldChg>
      <pc:sldChg chg="add del ord">
        <pc:chgData name="Raphaella ASHRAF" userId="5247841d-d595-4c30-b58a-9906097315c5" providerId="ADAL" clId="{49E1EDC4-949C-4C9A-9207-A653EB98B0DF}" dt="2024-11-19T09:17:18.019" v="4767" actId="47"/>
        <pc:sldMkLst>
          <pc:docMk/>
          <pc:sldMk cId="2764618566" sldId="2147475984"/>
        </pc:sldMkLst>
      </pc:sldChg>
      <pc:sldChg chg="add del ord">
        <pc:chgData name="Raphaella ASHRAF" userId="5247841d-d595-4c30-b58a-9906097315c5" providerId="ADAL" clId="{49E1EDC4-949C-4C9A-9207-A653EB98B0DF}" dt="2024-11-19T09:17:18.019" v="4767" actId="47"/>
        <pc:sldMkLst>
          <pc:docMk/>
          <pc:sldMk cId="942555755" sldId="2147475985"/>
        </pc:sldMkLst>
      </pc:sldChg>
      <pc:sldChg chg="add del ord">
        <pc:chgData name="Raphaella ASHRAF" userId="5247841d-d595-4c30-b58a-9906097315c5" providerId="ADAL" clId="{49E1EDC4-949C-4C9A-9207-A653EB98B0DF}" dt="2024-11-19T09:17:18.019" v="4767" actId="47"/>
        <pc:sldMkLst>
          <pc:docMk/>
          <pc:sldMk cId="3949130786" sldId="2147475986"/>
        </pc:sldMkLst>
      </pc:sldChg>
      <pc:sldChg chg="add del ord">
        <pc:chgData name="Raphaella ASHRAF" userId="5247841d-d595-4c30-b58a-9906097315c5" providerId="ADAL" clId="{49E1EDC4-949C-4C9A-9207-A653EB98B0DF}" dt="2024-11-19T09:17:18.019" v="4767" actId="47"/>
        <pc:sldMkLst>
          <pc:docMk/>
          <pc:sldMk cId="323403204" sldId="2147475987"/>
        </pc:sldMkLst>
      </pc:sldChg>
      <pc:sldChg chg="add del ord">
        <pc:chgData name="Raphaella ASHRAF" userId="5247841d-d595-4c30-b58a-9906097315c5" providerId="ADAL" clId="{49E1EDC4-949C-4C9A-9207-A653EB98B0DF}" dt="2024-11-19T09:17:18.019" v="4767" actId="47"/>
        <pc:sldMkLst>
          <pc:docMk/>
          <pc:sldMk cId="3122602684" sldId="2147475988"/>
        </pc:sldMkLst>
      </pc:sldChg>
      <pc:sldChg chg="add del ord">
        <pc:chgData name="Raphaella ASHRAF" userId="5247841d-d595-4c30-b58a-9906097315c5" providerId="ADAL" clId="{49E1EDC4-949C-4C9A-9207-A653EB98B0DF}" dt="2024-11-19T09:17:18.019" v="4767" actId="47"/>
        <pc:sldMkLst>
          <pc:docMk/>
          <pc:sldMk cId="3623978639" sldId="2147475989"/>
        </pc:sldMkLst>
      </pc:sldChg>
      <pc:sldChg chg="add del ord">
        <pc:chgData name="Raphaella ASHRAF" userId="5247841d-d595-4c30-b58a-9906097315c5" providerId="ADAL" clId="{49E1EDC4-949C-4C9A-9207-A653EB98B0DF}" dt="2024-11-19T09:17:18.019" v="4767" actId="47"/>
        <pc:sldMkLst>
          <pc:docMk/>
          <pc:sldMk cId="3188479189" sldId="2147475990"/>
        </pc:sldMkLst>
      </pc:sldChg>
      <pc:sldChg chg="add del ord">
        <pc:chgData name="Raphaella ASHRAF" userId="5247841d-d595-4c30-b58a-9906097315c5" providerId="ADAL" clId="{49E1EDC4-949C-4C9A-9207-A653EB98B0DF}" dt="2024-11-19T09:17:18.019" v="4767" actId="47"/>
        <pc:sldMkLst>
          <pc:docMk/>
          <pc:sldMk cId="600604432" sldId="2147475991"/>
        </pc:sldMkLst>
      </pc:sldChg>
      <pc:sldChg chg="add del ord">
        <pc:chgData name="Raphaella ASHRAF" userId="5247841d-d595-4c30-b58a-9906097315c5" providerId="ADAL" clId="{49E1EDC4-949C-4C9A-9207-A653EB98B0DF}" dt="2024-11-19T09:17:18.019" v="4767" actId="47"/>
        <pc:sldMkLst>
          <pc:docMk/>
          <pc:sldMk cId="23325684" sldId="2147475992"/>
        </pc:sldMkLst>
      </pc:sldChg>
      <pc:sldChg chg="add del ord">
        <pc:chgData name="Raphaella ASHRAF" userId="5247841d-d595-4c30-b58a-9906097315c5" providerId="ADAL" clId="{49E1EDC4-949C-4C9A-9207-A653EB98B0DF}" dt="2024-11-19T09:17:18.019" v="4767" actId="47"/>
        <pc:sldMkLst>
          <pc:docMk/>
          <pc:sldMk cId="2933407916" sldId="2147475993"/>
        </pc:sldMkLst>
      </pc:sldChg>
      <pc:sldChg chg="add del ord">
        <pc:chgData name="Raphaella ASHRAF" userId="5247841d-d595-4c30-b58a-9906097315c5" providerId="ADAL" clId="{49E1EDC4-949C-4C9A-9207-A653EB98B0DF}" dt="2024-11-19T09:17:18.019" v="4767" actId="47"/>
        <pc:sldMkLst>
          <pc:docMk/>
          <pc:sldMk cId="2304067563" sldId="2147475994"/>
        </pc:sldMkLst>
      </pc:sldChg>
      <pc:sldChg chg="add del ord">
        <pc:chgData name="Raphaella ASHRAF" userId="5247841d-d595-4c30-b58a-9906097315c5" providerId="ADAL" clId="{49E1EDC4-949C-4C9A-9207-A653EB98B0DF}" dt="2024-11-19T09:17:18.019" v="4767" actId="47"/>
        <pc:sldMkLst>
          <pc:docMk/>
          <pc:sldMk cId="1311826383" sldId="2147475995"/>
        </pc:sldMkLst>
      </pc:sldChg>
      <pc:sldChg chg="add del ord">
        <pc:chgData name="Raphaella ASHRAF" userId="5247841d-d595-4c30-b58a-9906097315c5" providerId="ADAL" clId="{49E1EDC4-949C-4C9A-9207-A653EB98B0DF}" dt="2024-11-19T09:17:18.019" v="4767" actId="47"/>
        <pc:sldMkLst>
          <pc:docMk/>
          <pc:sldMk cId="1675776684" sldId="2147475996"/>
        </pc:sldMkLst>
      </pc:sldChg>
      <pc:sldChg chg="add del ord">
        <pc:chgData name="Raphaella ASHRAF" userId="5247841d-d595-4c30-b58a-9906097315c5" providerId="ADAL" clId="{49E1EDC4-949C-4C9A-9207-A653EB98B0DF}" dt="2024-11-19T09:17:18.019" v="4767" actId="47"/>
        <pc:sldMkLst>
          <pc:docMk/>
          <pc:sldMk cId="3190485764" sldId="2147475997"/>
        </pc:sldMkLst>
      </pc:sldChg>
      <pc:sldChg chg="add del ord">
        <pc:chgData name="Raphaella ASHRAF" userId="5247841d-d595-4c30-b58a-9906097315c5" providerId="ADAL" clId="{49E1EDC4-949C-4C9A-9207-A653EB98B0DF}" dt="2024-11-19T09:17:18.019" v="4767" actId="47"/>
        <pc:sldMkLst>
          <pc:docMk/>
          <pc:sldMk cId="1376965271" sldId="2147475998"/>
        </pc:sldMkLst>
      </pc:sldChg>
      <pc:sldChg chg="add del ord">
        <pc:chgData name="Raphaella ASHRAF" userId="5247841d-d595-4c30-b58a-9906097315c5" providerId="ADAL" clId="{49E1EDC4-949C-4C9A-9207-A653EB98B0DF}" dt="2024-11-19T09:17:18.019" v="4767" actId="47"/>
        <pc:sldMkLst>
          <pc:docMk/>
          <pc:sldMk cId="469506645" sldId="2147475999"/>
        </pc:sldMkLst>
      </pc:sldChg>
      <pc:sldChg chg="add del ord">
        <pc:chgData name="Raphaella ASHRAF" userId="5247841d-d595-4c30-b58a-9906097315c5" providerId="ADAL" clId="{49E1EDC4-949C-4C9A-9207-A653EB98B0DF}" dt="2024-11-19T09:17:18.019" v="4767" actId="47"/>
        <pc:sldMkLst>
          <pc:docMk/>
          <pc:sldMk cId="107760585" sldId="2147476000"/>
        </pc:sldMkLst>
      </pc:sldChg>
      <pc:sldChg chg="add del ord">
        <pc:chgData name="Raphaella ASHRAF" userId="5247841d-d595-4c30-b58a-9906097315c5" providerId="ADAL" clId="{49E1EDC4-949C-4C9A-9207-A653EB98B0DF}" dt="2024-11-19T09:17:18.019" v="4767" actId="47"/>
        <pc:sldMkLst>
          <pc:docMk/>
          <pc:sldMk cId="3825098140" sldId="2147476001"/>
        </pc:sldMkLst>
      </pc:sldChg>
      <pc:sldChg chg="add del ord">
        <pc:chgData name="Raphaella ASHRAF" userId="5247841d-d595-4c30-b58a-9906097315c5" providerId="ADAL" clId="{49E1EDC4-949C-4C9A-9207-A653EB98B0DF}" dt="2024-11-19T09:17:18.019" v="4767" actId="47"/>
        <pc:sldMkLst>
          <pc:docMk/>
          <pc:sldMk cId="3781624794" sldId="2147476002"/>
        </pc:sldMkLst>
      </pc:sldChg>
      <pc:sldChg chg="add del ord">
        <pc:chgData name="Raphaella ASHRAF" userId="5247841d-d595-4c30-b58a-9906097315c5" providerId="ADAL" clId="{49E1EDC4-949C-4C9A-9207-A653EB98B0DF}" dt="2024-11-19T09:17:18.019" v="4767" actId="47"/>
        <pc:sldMkLst>
          <pc:docMk/>
          <pc:sldMk cId="4228529172" sldId="2147476003"/>
        </pc:sldMkLst>
      </pc:sldChg>
      <pc:sldChg chg="add del ord">
        <pc:chgData name="Raphaella ASHRAF" userId="5247841d-d595-4c30-b58a-9906097315c5" providerId="ADAL" clId="{49E1EDC4-949C-4C9A-9207-A653EB98B0DF}" dt="2024-11-19T09:17:18.019" v="4767" actId="47"/>
        <pc:sldMkLst>
          <pc:docMk/>
          <pc:sldMk cId="804170927" sldId="2147476004"/>
        </pc:sldMkLst>
      </pc:sldChg>
      <pc:sldChg chg="add del ord">
        <pc:chgData name="Raphaella ASHRAF" userId="5247841d-d595-4c30-b58a-9906097315c5" providerId="ADAL" clId="{49E1EDC4-949C-4C9A-9207-A653EB98B0DF}" dt="2024-11-19T09:17:18.019" v="4767" actId="47"/>
        <pc:sldMkLst>
          <pc:docMk/>
          <pc:sldMk cId="1743435829" sldId="2147476005"/>
        </pc:sldMkLst>
      </pc:sldChg>
      <pc:sldChg chg="add del ord">
        <pc:chgData name="Raphaella ASHRAF" userId="5247841d-d595-4c30-b58a-9906097315c5" providerId="ADAL" clId="{49E1EDC4-949C-4C9A-9207-A653EB98B0DF}" dt="2024-11-19T09:17:18.019" v="4767" actId="47"/>
        <pc:sldMkLst>
          <pc:docMk/>
          <pc:sldMk cId="4213619886" sldId="2147476006"/>
        </pc:sldMkLst>
      </pc:sldChg>
      <pc:sldChg chg="add del ord">
        <pc:chgData name="Raphaella ASHRAF" userId="5247841d-d595-4c30-b58a-9906097315c5" providerId="ADAL" clId="{49E1EDC4-949C-4C9A-9207-A653EB98B0DF}" dt="2024-11-19T09:17:18.019" v="4767" actId="47"/>
        <pc:sldMkLst>
          <pc:docMk/>
          <pc:sldMk cId="1571402167" sldId="2147476007"/>
        </pc:sldMkLst>
      </pc:sldChg>
      <pc:sldChg chg="add del ord">
        <pc:chgData name="Raphaella ASHRAF" userId="5247841d-d595-4c30-b58a-9906097315c5" providerId="ADAL" clId="{49E1EDC4-949C-4C9A-9207-A653EB98B0DF}" dt="2024-11-19T09:17:18.019" v="4767" actId="47"/>
        <pc:sldMkLst>
          <pc:docMk/>
          <pc:sldMk cId="2420174442" sldId="2147476008"/>
        </pc:sldMkLst>
      </pc:sldChg>
      <pc:sldChg chg="add del ord">
        <pc:chgData name="Raphaella ASHRAF" userId="5247841d-d595-4c30-b58a-9906097315c5" providerId="ADAL" clId="{49E1EDC4-949C-4C9A-9207-A653EB98B0DF}" dt="2024-11-19T09:17:18.019" v="4767" actId="47"/>
        <pc:sldMkLst>
          <pc:docMk/>
          <pc:sldMk cId="3498971872" sldId="2147476009"/>
        </pc:sldMkLst>
      </pc:sldChg>
      <pc:sldChg chg="add del ord">
        <pc:chgData name="Raphaella ASHRAF" userId="5247841d-d595-4c30-b58a-9906097315c5" providerId="ADAL" clId="{49E1EDC4-949C-4C9A-9207-A653EB98B0DF}" dt="2024-11-19T09:17:18.019" v="4767" actId="47"/>
        <pc:sldMkLst>
          <pc:docMk/>
          <pc:sldMk cId="3299828037" sldId="2147476010"/>
        </pc:sldMkLst>
      </pc:sldChg>
      <pc:sldChg chg="add del ord">
        <pc:chgData name="Raphaella ASHRAF" userId="5247841d-d595-4c30-b58a-9906097315c5" providerId="ADAL" clId="{49E1EDC4-949C-4C9A-9207-A653EB98B0DF}" dt="2024-11-19T09:17:18.019" v="4767" actId="47"/>
        <pc:sldMkLst>
          <pc:docMk/>
          <pc:sldMk cId="3601990609" sldId="2147476011"/>
        </pc:sldMkLst>
      </pc:sldChg>
      <pc:sldChg chg="add del ord">
        <pc:chgData name="Raphaella ASHRAF" userId="5247841d-d595-4c30-b58a-9906097315c5" providerId="ADAL" clId="{49E1EDC4-949C-4C9A-9207-A653EB98B0DF}" dt="2024-11-19T09:17:18.019" v="4767" actId="47"/>
        <pc:sldMkLst>
          <pc:docMk/>
          <pc:sldMk cId="3972599330" sldId="2147476012"/>
        </pc:sldMkLst>
      </pc:sldChg>
      <pc:sldChg chg="add del ord">
        <pc:chgData name="Raphaella ASHRAF" userId="5247841d-d595-4c30-b58a-9906097315c5" providerId="ADAL" clId="{49E1EDC4-949C-4C9A-9207-A653EB98B0DF}" dt="2024-11-19T09:17:18.019" v="4767" actId="47"/>
        <pc:sldMkLst>
          <pc:docMk/>
          <pc:sldMk cId="833390598" sldId="2147476013"/>
        </pc:sldMkLst>
      </pc:sldChg>
      <pc:sldChg chg="add del ord">
        <pc:chgData name="Raphaella ASHRAF" userId="5247841d-d595-4c30-b58a-9906097315c5" providerId="ADAL" clId="{49E1EDC4-949C-4C9A-9207-A653EB98B0DF}" dt="2024-11-19T09:17:18.019" v="4767" actId="47"/>
        <pc:sldMkLst>
          <pc:docMk/>
          <pc:sldMk cId="408688378" sldId="2147476014"/>
        </pc:sldMkLst>
      </pc:sldChg>
      <pc:sldChg chg="add del ord">
        <pc:chgData name="Raphaella ASHRAF" userId="5247841d-d595-4c30-b58a-9906097315c5" providerId="ADAL" clId="{49E1EDC4-949C-4C9A-9207-A653EB98B0DF}" dt="2024-11-19T09:17:18.019" v="4767" actId="47"/>
        <pc:sldMkLst>
          <pc:docMk/>
          <pc:sldMk cId="891064169" sldId="2147476015"/>
        </pc:sldMkLst>
      </pc:sldChg>
      <pc:sldChg chg="add del ord">
        <pc:chgData name="Raphaella ASHRAF" userId="5247841d-d595-4c30-b58a-9906097315c5" providerId="ADAL" clId="{49E1EDC4-949C-4C9A-9207-A653EB98B0DF}" dt="2024-11-19T09:17:18.019" v="4767" actId="47"/>
        <pc:sldMkLst>
          <pc:docMk/>
          <pc:sldMk cId="2483963723" sldId="2147476016"/>
        </pc:sldMkLst>
      </pc:sldChg>
      <pc:sldChg chg="add del ord">
        <pc:chgData name="Raphaella ASHRAF" userId="5247841d-d595-4c30-b58a-9906097315c5" providerId="ADAL" clId="{49E1EDC4-949C-4C9A-9207-A653EB98B0DF}" dt="2024-11-19T09:17:18.019" v="4767" actId="47"/>
        <pc:sldMkLst>
          <pc:docMk/>
          <pc:sldMk cId="1552800474" sldId="2147476017"/>
        </pc:sldMkLst>
      </pc:sldChg>
      <pc:sldChg chg="add del ord">
        <pc:chgData name="Raphaella ASHRAF" userId="5247841d-d595-4c30-b58a-9906097315c5" providerId="ADAL" clId="{49E1EDC4-949C-4C9A-9207-A653EB98B0DF}" dt="2024-11-19T09:17:18.019" v="4767" actId="47"/>
        <pc:sldMkLst>
          <pc:docMk/>
          <pc:sldMk cId="2548364706" sldId="2147476018"/>
        </pc:sldMkLst>
      </pc:sldChg>
      <pc:sldChg chg="add del ord">
        <pc:chgData name="Raphaella ASHRAF" userId="5247841d-d595-4c30-b58a-9906097315c5" providerId="ADAL" clId="{49E1EDC4-949C-4C9A-9207-A653EB98B0DF}" dt="2024-11-19T09:17:18.019" v="4767" actId="47"/>
        <pc:sldMkLst>
          <pc:docMk/>
          <pc:sldMk cId="626411308" sldId="2147476019"/>
        </pc:sldMkLst>
      </pc:sldChg>
      <pc:sldChg chg="add del ord">
        <pc:chgData name="Raphaella ASHRAF" userId="5247841d-d595-4c30-b58a-9906097315c5" providerId="ADAL" clId="{49E1EDC4-949C-4C9A-9207-A653EB98B0DF}" dt="2024-11-19T09:17:18.019" v="4767" actId="47"/>
        <pc:sldMkLst>
          <pc:docMk/>
          <pc:sldMk cId="2180541060" sldId="2147476020"/>
        </pc:sldMkLst>
      </pc:sldChg>
      <pc:sldChg chg="add del ord">
        <pc:chgData name="Raphaella ASHRAF" userId="5247841d-d595-4c30-b58a-9906097315c5" providerId="ADAL" clId="{49E1EDC4-949C-4C9A-9207-A653EB98B0DF}" dt="2024-11-19T09:17:18.019" v="4767" actId="47"/>
        <pc:sldMkLst>
          <pc:docMk/>
          <pc:sldMk cId="441034029" sldId="2147476021"/>
        </pc:sldMkLst>
      </pc:sldChg>
      <pc:sldChg chg="add del ord">
        <pc:chgData name="Raphaella ASHRAF" userId="5247841d-d595-4c30-b58a-9906097315c5" providerId="ADAL" clId="{49E1EDC4-949C-4C9A-9207-A653EB98B0DF}" dt="2024-11-19T09:17:18.019" v="4767" actId="47"/>
        <pc:sldMkLst>
          <pc:docMk/>
          <pc:sldMk cId="2396041436" sldId="2147476022"/>
        </pc:sldMkLst>
      </pc:sldChg>
      <pc:sldChg chg="add del ord">
        <pc:chgData name="Raphaella ASHRAF" userId="5247841d-d595-4c30-b58a-9906097315c5" providerId="ADAL" clId="{49E1EDC4-949C-4C9A-9207-A653EB98B0DF}" dt="2024-11-19T09:17:18.019" v="4767" actId="47"/>
        <pc:sldMkLst>
          <pc:docMk/>
          <pc:sldMk cId="72249542" sldId="2147476023"/>
        </pc:sldMkLst>
      </pc:sldChg>
      <pc:sldChg chg="add del ord">
        <pc:chgData name="Raphaella ASHRAF" userId="5247841d-d595-4c30-b58a-9906097315c5" providerId="ADAL" clId="{49E1EDC4-949C-4C9A-9207-A653EB98B0DF}" dt="2024-11-19T09:17:18.019" v="4767" actId="47"/>
        <pc:sldMkLst>
          <pc:docMk/>
          <pc:sldMk cId="483725845" sldId="2147476024"/>
        </pc:sldMkLst>
      </pc:sldChg>
      <pc:sldChg chg="add del ord">
        <pc:chgData name="Raphaella ASHRAF" userId="5247841d-d595-4c30-b58a-9906097315c5" providerId="ADAL" clId="{49E1EDC4-949C-4C9A-9207-A653EB98B0DF}" dt="2024-11-19T09:17:18.019" v="4767" actId="47"/>
        <pc:sldMkLst>
          <pc:docMk/>
          <pc:sldMk cId="928628519" sldId="2147476025"/>
        </pc:sldMkLst>
      </pc:sldChg>
      <pc:sldChg chg="add del ord">
        <pc:chgData name="Raphaella ASHRAF" userId="5247841d-d595-4c30-b58a-9906097315c5" providerId="ADAL" clId="{49E1EDC4-949C-4C9A-9207-A653EB98B0DF}" dt="2024-11-19T09:17:18.019" v="4767" actId="47"/>
        <pc:sldMkLst>
          <pc:docMk/>
          <pc:sldMk cId="2210366199" sldId="2147476026"/>
        </pc:sldMkLst>
      </pc:sldChg>
      <pc:sldChg chg="add del ord">
        <pc:chgData name="Raphaella ASHRAF" userId="5247841d-d595-4c30-b58a-9906097315c5" providerId="ADAL" clId="{49E1EDC4-949C-4C9A-9207-A653EB98B0DF}" dt="2024-11-19T09:17:18.019" v="4767" actId="47"/>
        <pc:sldMkLst>
          <pc:docMk/>
          <pc:sldMk cId="1549418175" sldId="2147476027"/>
        </pc:sldMkLst>
      </pc:sldChg>
      <pc:sldChg chg="add del ord">
        <pc:chgData name="Raphaella ASHRAF" userId="5247841d-d595-4c30-b58a-9906097315c5" providerId="ADAL" clId="{49E1EDC4-949C-4C9A-9207-A653EB98B0DF}" dt="2024-11-19T09:17:18.019" v="4767" actId="47"/>
        <pc:sldMkLst>
          <pc:docMk/>
          <pc:sldMk cId="2910452552" sldId="2147476028"/>
        </pc:sldMkLst>
      </pc:sldChg>
      <pc:sldChg chg="add del ord">
        <pc:chgData name="Raphaella ASHRAF" userId="5247841d-d595-4c30-b58a-9906097315c5" providerId="ADAL" clId="{49E1EDC4-949C-4C9A-9207-A653EB98B0DF}" dt="2024-11-19T09:17:18.019" v="4767" actId="47"/>
        <pc:sldMkLst>
          <pc:docMk/>
          <pc:sldMk cId="305231599" sldId="2147476029"/>
        </pc:sldMkLst>
      </pc:sldChg>
      <pc:sldChg chg="add del ord">
        <pc:chgData name="Raphaella ASHRAF" userId="5247841d-d595-4c30-b58a-9906097315c5" providerId="ADAL" clId="{49E1EDC4-949C-4C9A-9207-A653EB98B0DF}" dt="2024-11-19T09:17:18.019" v="4767" actId="47"/>
        <pc:sldMkLst>
          <pc:docMk/>
          <pc:sldMk cId="3154575628" sldId="2147476030"/>
        </pc:sldMkLst>
      </pc:sldChg>
      <pc:sldChg chg="add del ord">
        <pc:chgData name="Raphaella ASHRAF" userId="5247841d-d595-4c30-b58a-9906097315c5" providerId="ADAL" clId="{49E1EDC4-949C-4C9A-9207-A653EB98B0DF}" dt="2024-11-19T09:17:18.019" v="4767" actId="47"/>
        <pc:sldMkLst>
          <pc:docMk/>
          <pc:sldMk cId="2473690433" sldId="2147476031"/>
        </pc:sldMkLst>
      </pc:sldChg>
      <pc:sldChg chg="add del ord">
        <pc:chgData name="Raphaella ASHRAF" userId="5247841d-d595-4c30-b58a-9906097315c5" providerId="ADAL" clId="{49E1EDC4-949C-4C9A-9207-A653EB98B0DF}" dt="2024-11-19T09:17:18.019" v="4767" actId="47"/>
        <pc:sldMkLst>
          <pc:docMk/>
          <pc:sldMk cId="1191233500" sldId="2147476032"/>
        </pc:sldMkLst>
      </pc:sldChg>
      <pc:sldChg chg="add del ord">
        <pc:chgData name="Raphaella ASHRAF" userId="5247841d-d595-4c30-b58a-9906097315c5" providerId="ADAL" clId="{49E1EDC4-949C-4C9A-9207-A653EB98B0DF}" dt="2024-11-19T09:17:18.019" v="4767" actId="47"/>
        <pc:sldMkLst>
          <pc:docMk/>
          <pc:sldMk cId="2421297616" sldId="2147476033"/>
        </pc:sldMkLst>
      </pc:sldChg>
      <pc:sldChg chg="add del ord">
        <pc:chgData name="Raphaella ASHRAF" userId="5247841d-d595-4c30-b58a-9906097315c5" providerId="ADAL" clId="{49E1EDC4-949C-4C9A-9207-A653EB98B0DF}" dt="2024-11-19T09:17:18.019" v="4767" actId="47"/>
        <pc:sldMkLst>
          <pc:docMk/>
          <pc:sldMk cId="940123771" sldId="2147476034"/>
        </pc:sldMkLst>
      </pc:sldChg>
      <pc:sldChg chg="add del ord">
        <pc:chgData name="Raphaella ASHRAF" userId="5247841d-d595-4c30-b58a-9906097315c5" providerId="ADAL" clId="{49E1EDC4-949C-4C9A-9207-A653EB98B0DF}" dt="2024-11-19T09:17:18.019" v="4767" actId="47"/>
        <pc:sldMkLst>
          <pc:docMk/>
          <pc:sldMk cId="2129219497" sldId="2147476035"/>
        </pc:sldMkLst>
      </pc:sldChg>
      <pc:sldChg chg="add del ord">
        <pc:chgData name="Raphaella ASHRAF" userId="5247841d-d595-4c30-b58a-9906097315c5" providerId="ADAL" clId="{49E1EDC4-949C-4C9A-9207-A653EB98B0DF}" dt="2024-11-19T09:17:18.019" v="4767" actId="47"/>
        <pc:sldMkLst>
          <pc:docMk/>
          <pc:sldMk cId="3702333819" sldId="2147476036"/>
        </pc:sldMkLst>
      </pc:sldChg>
      <pc:sldChg chg="add del ord">
        <pc:chgData name="Raphaella ASHRAF" userId="5247841d-d595-4c30-b58a-9906097315c5" providerId="ADAL" clId="{49E1EDC4-949C-4C9A-9207-A653EB98B0DF}" dt="2024-11-19T09:17:18.019" v="4767" actId="47"/>
        <pc:sldMkLst>
          <pc:docMk/>
          <pc:sldMk cId="601787127" sldId="2147476037"/>
        </pc:sldMkLst>
      </pc:sldChg>
      <pc:sldChg chg="add del ord">
        <pc:chgData name="Raphaella ASHRAF" userId="5247841d-d595-4c30-b58a-9906097315c5" providerId="ADAL" clId="{49E1EDC4-949C-4C9A-9207-A653EB98B0DF}" dt="2024-11-19T09:17:18.019" v="4767" actId="47"/>
        <pc:sldMkLst>
          <pc:docMk/>
          <pc:sldMk cId="3538279194" sldId="2147476038"/>
        </pc:sldMkLst>
      </pc:sldChg>
      <pc:sldChg chg="add del ord">
        <pc:chgData name="Raphaella ASHRAF" userId="5247841d-d595-4c30-b58a-9906097315c5" providerId="ADAL" clId="{49E1EDC4-949C-4C9A-9207-A653EB98B0DF}" dt="2024-11-19T09:17:18.019" v="4767" actId="47"/>
        <pc:sldMkLst>
          <pc:docMk/>
          <pc:sldMk cId="1065319827" sldId="2147476039"/>
        </pc:sldMkLst>
      </pc:sldChg>
      <pc:sldChg chg="add del ord">
        <pc:chgData name="Raphaella ASHRAF" userId="5247841d-d595-4c30-b58a-9906097315c5" providerId="ADAL" clId="{49E1EDC4-949C-4C9A-9207-A653EB98B0DF}" dt="2024-11-19T09:17:18.019" v="4767" actId="47"/>
        <pc:sldMkLst>
          <pc:docMk/>
          <pc:sldMk cId="3210952047" sldId="2147476040"/>
        </pc:sldMkLst>
      </pc:sldChg>
      <pc:sldChg chg="add del ord">
        <pc:chgData name="Raphaella ASHRAF" userId="5247841d-d595-4c30-b58a-9906097315c5" providerId="ADAL" clId="{49E1EDC4-949C-4C9A-9207-A653EB98B0DF}" dt="2024-11-19T09:17:18.019" v="4767" actId="47"/>
        <pc:sldMkLst>
          <pc:docMk/>
          <pc:sldMk cId="3419614084" sldId="2147476041"/>
        </pc:sldMkLst>
      </pc:sldChg>
      <pc:sldChg chg="add del ord">
        <pc:chgData name="Raphaella ASHRAF" userId="5247841d-d595-4c30-b58a-9906097315c5" providerId="ADAL" clId="{49E1EDC4-949C-4C9A-9207-A653EB98B0DF}" dt="2024-11-19T09:17:18.019" v="4767" actId="47"/>
        <pc:sldMkLst>
          <pc:docMk/>
          <pc:sldMk cId="2030201318" sldId="2147476042"/>
        </pc:sldMkLst>
      </pc:sldChg>
      <pc:sldChg chg="add del ord">
        <pc:chgData name="Raphaella ASHRAF" userId="5247841d-d595-4c30-b58a-9906097315c5" providerId="ADAL" clId="{49E1EDC4-949C-4C9A-9207-A653EB98B0DF}" dt="2024-11-19T09:17:18.019" v="4767" actId="47"/>
        <pc:sldMkLst>
          <pc:docMk/>
          <pc:sldMk cId="1887403534" sldId="2147476043"/>
        </pc:sldMkLst>
      </pc:sldChg>
      <pc:sldChg chg="add del ord">
        <pc:chgData name="Raphaella ASHRAF" userId="5247841d-d595-4c30-b58a-9906097315c5" providerId="ADAL" clId="{49E1EDC4-949C-4C9A-9207-A653EB98B0DF}" dt="2024-11-19T09:17:18.019" v="4767" actId="47"/>
        <pc:sldMkLst>
          <pc:docMk/>
          <pc:sldMk cId="3380122123" sldId="2147476044"/>
        </pc:sldMkLst>
      </pc:sldChg>
      <pc:sldChg chg="add del ord">
        <pc:chgData name="Raphaella ASHRAF" userId="5247841d-d595-4c30-b58a-9906097315c5" providerId="ADAL" clId="{49E1EDC4-949C-4C9A-9207-A653EB98B0DF}" dt="2024-11-19T09:17:18.019" v="4767" actId="47"/>
        <pc:sldMkLst>
          <pc:docMk/>
          <pc:sldMk cId="636490447" sldId="2147476045"/>
        </pc:sldMkLst>
      </pc:sldChg>
      <pc:sldChg chg="add del ord">
        <pc:chgData name="Raphaella ASHRAF" userId="5247841d-d595-4c30-b58a-9906097315c5" providerId="ADAL" clId="{49E1EDC4-949C-4C9A-9207-A653EB98B0DF}" dt="2024-11-19T09:17:18.019" v="4767" actId="47"/>
        <pc:sldMkLst>
          <pc:docMk/>
          <pc:sldMk cId="1749687473" sldId="2147476046"/>
        </pc:sldMkLst>
      </pc:sldChg>
      <pc:sldChg chg="add del ord">
        <pc:chgData name="Raphaella ASHRAF" userId="5247841d-d595-4c30-b58a-9906097315c5" providerId="ADAL" clId="{49E1EDC4-949C-4C9A-9207-A653EB98B0DF}" dt="2024-11-19T09:17:18.019" v="4767" actId="47"/>
        <pc:sldMkLst>
          <pc:docMk/>
          <pc:sldMk cId="660345981" sldId="2147476047"/>
        </pc:sldMkLst>
      </pc:sldChg>
      <pc:sldChg chg="add del ord">
        <pc:chgData name="Raphaella ASHRAF" userId="5247841d-d595-4c30-b58a-9906097315c5" providerId="ADAL" clId="{49E1EDC4-949C-4C9A-9207-A653EB98B0DF}" dt="2024-11-19T09:17:18.019" v="4767" actId="47"/>
        <pc:sldMkLst>
          <pc:docMk/>
          <pc:sldMk cId="386291651" sldId="2147476048"/>
        </pc:sldMkLst>
      </pc:sldChg>
      <pc:sldChg chg="add del ord">
        <pc:chgData name="Raphaella ASHRAF" userId="5247841d-d595-4c30-b58a-9906097315c5" providerId="ADAL" clId="{49E1EDC4-949C-4C9A-9207-A653EB98B0DF}" dt="2024-11-19T09:17:18.019" v="4767" actId="47"/>
        <pc:sldMkLst>
          <pc:docMk/>
          <pc:sldMk cId="2340250566" sldId="2147476049"/>
        </pc:sldMkLst>
      </pc:sldChg>
      <pc:sldChg chg="add del ord">
        <pc:chgData name="Raphaella ASHRAF" userId="5247841d-d595-4c30-b58a-9906097315c5" providerId="ADAL" clId="{49E1EDC4-949C-4C9A-9207-A653EB98B0DF}" dt="2024-11-19T09:17:18.019" v="4767" actId="47"/>
        <pc:sldMkLst>
          <pc:docMk/>
          <pc:sldMk cId="1348382767" sldId="2147476050"/>
        </pc:sldMkLst>
      </pc:sldChg>
      <pc:sldChg chg="add del ord">
        <pc:chgData name="Raphaella ASHRAF" userId="5247841d-d595-4c30-b58a-9906097315c5" providerId="ADAL" clId="{49E1EDC4-949C-4C9A-9207-A653EB98B0DF}" dt="2024-11-19T09:17:18.019" v="4767" actId="47"/>
        <pc:sldMkLst>
          <pc:docMk/>
          <pc:sldMk cId="601998620" sldId="2147476051"/>
        </pc:sldMkLst>
      </pc:sldChg>
      <pc:sldChg chg="add del ord">
        <pc:chgData name="Raphaella ASHRAF" userId="5247841d-d595-4c30-b58a-9906097315c5" providerId="ADAL" clId="{49E1EDC4-949C-4C9A-9207-A653EB98B0DF}" dt="2024-11-19T09:17:18.019" v="4767" actId="47"/>
        <pc:sldMkLst>
          <pc:docMk/>
          <pc:sldMk cId="2735889529" sldId="2147476052"/>
        </pc:sldMkLst>
      </pc:sldChg>
      <pc:sldChg chg="add del ord">
        <pc:chgData name="Raphaella ASHRAF" userId="5247841d-d595-4c30-b58a-9906097315c5" providerId="ADAL" clId="{49E1EDC4-949C-4C9A-9207-A653EB98B0DF}" dt="2024-11-19T09:17:18.019" v="4767" actId="47"/>
        <pc:sldMkLst>
          <pc:docMk/>
          <pc:sldMk cId="2518648856" sldId="2147476053"/>
        </pc:sldMkLst>
      </pc:sldChg>
      <pc:sldChg chg="add del ord">
        <pc:chgData name="Raphaella ASHRAF" userId="5247841d-d595-4c30-b58a-9906097315c5" providerId="ADAL" clId="{49E1EDC4-949C-4C9A-9207-A653EB98B0DF}" dt="2024-11-19T09:17:18.019" v="4767" actId="47"/>
        <pc:sldMkLst>
          <pc:docMk/>
          <pc:sldMk cId="3858453297" sldId="2147476054"/>
        </pc:sldMkLst>
      </pc:sldChg>
      <pc:sldChg chg="add del ord">
        <pc:chgData name="Raphaella ASHRAF" userId="5247841d-d595-4c30-b58a-9906097315c5" providerId="ADAL" clId="{49E1EDC4-949C-4C9A-9207-A653EB98B0DF}" dt="2024-11-19T09:17:18.019" v="4767" actId="47"/>
        <pc:sldMkLst>
          <pc:docMk/>
          <pc:sldMk cId="1396376007" sldId="2147476055"/>
        </pc:sldMkLst>
      </pc:sldChg>
      <pc:sldChg chg="add del ord">
        <pc:chgData name="Raphaella ASHRAF" userId="5247841d-d595-4c30-b58a-9906097315c5" providerId="ADAL" clId="{49E1EDC4-949C-4C9A-9207-A653EB98B0DF}" dt="2024-11-19T09:17:18.019" v="4767" actId="47"/>
        <pc:sldMkLst>
          <pc:docMk/>
          <pc:sldMk cId="658578833" sldId="2147476056"/>
        </pc:sldMkLst>
      </pc:sldChg>
      <pc:sldChg chg="add del ord">
        <pc:chgData name="Raphaella ASHRAF" userId="5247841d-d595-4c30-b58a-9906097315c5" providerId="ADAL" clId="{49E1EDC4-949C-4C9A-9207-A653EB98B0DF}" dt="2024-11-19T09:17:18.019" v="4767" actId="47"/>
        <pc:sldMkLst>
          <pc:docMk/>
          <pc:sldMk cId="2137641233" sldId="2147476057"/>
        </pc:sldMkLst>
      </pc:sldChg>
      <pc:sldChg chg="add del ord">
        <pc:chgData name="Raphaella ASHRAF" userId="5247841d-d595-4c30-b58a-9906097315c5" providerId="ADAL" clId="{49E1EDC4-949C-4C9A-9207-A653EB98B0DF}" dt="2024-11-19T09:17:18.019" v="4767" actId="47"/>
        <pc:sldMkLst>
          <pc:docMk/>
          <pc:sldMk cId="272879258" sldId="2147476058"/>
        </pc:sldMkLst>
      </pc:sldChg>
      <pc:sldChg chg="add del ord">
        <pc:chgData name="Raphaella ASHRAF" userId="5247841d-d595-4c30-b58a-9906097315c5" providerId="ADAL" clId="{49E1EDC4-949C-4C9A-9207-A653EB98B0DF}" dt="2024-11-19T09:17:18.019" v="4767" actId="47"/>
        <pc:sldMkLst>
          <pc:docMk/>
          <pc:sldMk cId="2270850593" sldId="2147476059"/>
        </pc:sldMkLst>
      </pc:sldChg>
      <pc:sldChg chg="add del ord">
        <pc:chgData name="Raphaella ASHRAF" userId="5247841d-d595-4c30-b58a-9906097315c5" providerId="ADAL" clId="{49E1EDC4-949C-4C9A-9207-A653EB98B0DF}" dt="2024-11-19T09:17:18.019" v="4767" actId="47"/>
        <pc:sldMkLst>
          <pc:docMk/>
          <pc:sldMk cId="2796366892" sldId="2147476060"/>
        </pc:sldMkLst>
      </pc:sldChg>
      <pc:sldChg chg="add del ord">
        <pc:chgData name="Raphaella ASHRAF" userId="5247841d-d595-4c30-b58a-9906097315c5" providerId="ADAL" clId="{49E1EDC4-949C-4C9A-9207-A653EB98B0DF}" dt="2024-11-19T09:17:18.019" v="4767" actId="47"/>
        <pc:sldMkLst>
          <pc:docMk/>
          <pc:sldMk cId="1925601215" sldId="2147476061"/>
        </pc:sldMkLst>
      </pc:sldChg>
      <pc:sldChg chg="add del ord">
        <pc:chgData name="Raphaella ASHRAF" userId="5247841d-d595-4c30-b58a-9906097315c5" providerId="ADAL" clId="{49E1EDC4-949C-4C9A-9207-A653EB98B0DF}" dt="2024-11-19T09:17:18.019" v="4767" actId="47"/>
        <pc:sldMkLst>
          <pc:docMk/>
          <pc:sldMk cId="2455764439" sldId="2147476062"/>
        </pc:sldMkLst>
      </pc:sldChg>
      <pc:sldChg chg="add del ord">
        <pc:chgData name="Raphaella ASHRAF" userId="5247841d-d595-4c30-b58a-9906097315c5" providerId="ADAL" clId="{49E1EDC4-949C-4C9A-9207-A653EB98B0DF}" dt="2024-11-19T09:17:18.019" v="4767" actId="47"/>
        <pc:sldMkLst>
          <pc:docMk/>
          <pc:sldMk cId="3045353873" sldId="2147476063"/>
        </pc:sldMkLst>
      </pc:sldChg>
      <pc:sldChg chg="add del ord">
        <pc:chgData name="Raphaella ASHRAF" userId="5247841d-d595-4c30-b58a-9906097315c5" providerId="ADAL" clId="{49E1EDC4-949C-4C9A-9207-A653EB98B0DF}" dt="2024-11-19T09:17:18.019" v="4767" actId="47"/>
        <pc:sldMkLst>
          <pc:docMk/>
          <pc:sldMk cId="3737059754" sldId="2147476064"/>
        </pc:sldMkLst>
      </pc:sldChg>
      <pc:sldChg chg="add del ord">
        <pc:chgData name="Raphaella ASHRAF" userId="5247841d-d595-4c30-b58a-9906097315c5" providerId="ADAL" clId="{49E1EDC4-949C-4C9A-9207-A653EB98B0DF}" dt="2024-11-19T09:17:18.019" v="4767" actId="47"/>
        <pc:sldMkLst>
          <pc:docMk/>
          <pc:sldMk cId="2307371469" sldId="2147476065"/>
        </pc:sldMkLst>
      </pc:sldChg>
      <pc:sldChg chg="add del ord">
        <pc:chgData name="Raphaella ASHRAF" userId="5247841d-d595-4c30-b58a-9906097315c5" providerId="ADAL" clId="{49E1EDC4-949C-4C9A-9207-A653EB98B0DF}" dt="2024-11-19T09:17:18.019" v="4767" actId="47"/>
        <pc:sldMkLst>
          <pc:docMk/>
          <pc:sldMk cId="2278410816" sldId="2147476066"/>
        </pc:sldMkLst>
      </pc:sldChg>
      <pc:sldChg chg="add del ord">
        <pc:chgData name="Raphaella ASHRAF" userId="5247841d-d595-4c30-b58a-9906097315c5" providerId="ADAL" clId="{49E1EDC4-949C-4C9A-9207-A653EB98B0DF}" dt="2024-11-19T09:17:18.019" v="4767" actId="47"/>
        <pc:sldMkLst>
          <pc:docMk/>
          <pc:sldMk cId="1427245835" sldId="2147476067"/>
        </pc:sldMkLst>
      </pc:sldChg>
      <pc:sldChg chg="add del ord">
        <pc:chgData name="Raphaella ASHRAF" userId="5247841d-d595-4c30-b58a-9906097315c5" providerId="ADAL" clId="{49E1EDC4-949C-4C9A-9207-A653EB98B0DF}" dt="2024-11-19T09:17:18.019" v="4767" actId="47"/>
        <pc:sldMkLst>
          <pc:docMk/>
          <pc:sldMk cId="764294428" sldId="2147476068"/>
        </pc:sldMkLst>
      </pc:sldChg>
      <pc:sldChg chg="add del ord">
        <pc:chgData name="Raphaella ASHRAF" userId="5247841d-d595-4c30-b58a-9906097315c5" providerId="ADAL" clId="{49E1EDC4-949C-4C9A-9207-A653EB98B0DF}" dt="2024-11-19T09:17:18.019" v="4767" actId="47"/>
        <pc:sldMkLst>
          <pc:docMk/>
          <pc:sldMk cId="784036677" sldId="2147476069"/>
        </pc:sldMkLst>
      </pc:sldChg>
      <pc:sldChg chg="add del ord">
        <pc:chgData name="Raphaella ASHRAF" userId="5247841d-d595-4c30-b58a-9906097315c5" providerId="ADAL" clId="{49E1EDC4-949C-4C9A-9207-A653EB98B0DF}" dt="2024-11-19T09:17:18.019" v="4767" actId="47"/>
        <pc:sldMkLst>
          <pc:docMk/>
          <pc:sldMk cId="3244364525" sldId="2147476070"/>
        </pc:sldMkLst>
      </pc:sldChg>
      <pc:sldChg chg="add del ord">
        <pc:chgData name="Raphaella ASHRAF" userId="5247841d-d595-4c30-b58a-9906097315c5" providerId="ADAL" clId="{49E1EDC4-949C-4C9A-9207-A653EB98B0DF}" dt="2024-11-19T09:17:18.019" v="4767" actId="47"/>
        <pc:sldMkLst>
          <pc:docMk/>
          <pc:sldMk cId="2970549611" sldId="2147476071"/>
        </pc:sldMkLst>
      </pc:sldChg>
      <pc:sldChg chg="add del ord">
        <pc:chgData name="Raphaella ASHRAF" userId="5247841d-d595-4c30-b58a-9906097315c5" providerId="ADAL" clId="{49E1EDC4-949C-4C9A-9207-A653EB98B0DF}" dt="2024-11-19T09:17:18.019" v="4767" actId="47"/>
        <pc:sldMkLst>
          <pc:docMk/>
          <pc:sldMk cId="138331483" sldId="2147476072"/>
        </pc:sldMkLst>
      </pc:sldChg>
      <pc:sldChg chg="add del ord">
        <pc:chgData name="Raphaella ASHRAF" userId="5247841d-d595-4c30-b58a-9906097315c5" providerId="ADAL" clId="{49E1EDC4-949C-4C9A-9207-A653EB98B0DF}" dt="2024-11-19T09:17:18.019" v="4767" actId="47"/>
        <pc:sldMkLst>
          <pc:docMk/>
          <pc:sldMk cId="560479041" sldId="2147476073"/>
        </pc:sldMkLst>
      </pc:sldChg>
      <pc:sldChg chg="add del ord">
        <pc:chgData name="Raphaella ASHRAF" userId="5247841d-d595-4c30-b58a-9906097315c5" providerId="ADAL" clId="{49E1EDC4-949C-4C9A-9207-A653EB98B0DF}" dt="2024-11-19T09:17:18.019" v="4767" actId="47"/>
        <pc:sldMkLst>
          <pc:docMk/>
          <pc:sldMk cId="2249113038" sldId="2147476074"/>
        </pc:sldMkLst>
      </pc:sldChg>
      <pc:sldChg chg="add del ord">
        <pc:chgData name="Raphaella ASHRAF" userId="5247841d-d595-4c30-b58a-9906097315c5" providerId="ADAL" clId="{49E1EDC4-949C-4C9A-9207-A653EB98B0DF}" dt="2024-11-19T09:17:18.019" v="4767" actId="47"/>
        <pc:sldMkLst>
          <pc:docMk/>
          <pc:sldMk cId="3355103328" sldId="2147476075"/>
        </pc:sldMkLst>
      </pc:sldChg>
      <pc:sldChg chg="add del ord">
        <pc:chgData name="Raphaella ASHRAF" userId="5247841d-d595-4c30-b58a-9906097315c5" providerId="ADAL" clId="{49E1EDC4-949C-4C9A-9207-A653EB98B0DF}" dt="2024-11-19T09:17:18.019" v="4767" actId="47"/>
        <pc:sldMkLst>
          <pc:docMk/>
          <pc:sldMk cId="4249665174" sldId="2147476076"/>
        </pc:sldMkLst>
      </pc:sldChg>
      <pc:sldChg chg="add del ord">
        <pc:chgData name="Raphaella ASHRAF" userId="5247841d-d595-4c30-b58a-9906097315c5" providerId="ADAL" clId="{49E1EDC4-949C-4C9A-9207-A653EB98B0DF}" dt="2024-11-19T09:17:18.019" v="4767" actId="47"/>
        <pc:sldMkLst>
          <pc:docMk/>
          <pc:sldMk cId="4165868654" sldId="2147476077"/>
        </pc:sldMkLst>
      </pc:sldChg>
      <pc:sldChg chg="add del ord">
        <pc:chgData name="Raphaella ASHRAF" userId="5247841d-d595-4c30-b58a-9906097315c5" providerId="ADAL" clId="{49E1EDC4-949C-4C9A-9207-A653EB98B0DF}" dt="2024-11-19T09:17:18.019" v="4767" actId="47"/>
        <pc:sldMkLst>
          <pc:docMk/>
          <pc:sldMk cId="2310977839" sldId="2147476078"/>
        </pc:sldMkLst>
      </pc:sldChg>
      <pc:sldChg chg="add del ord">
        <pc:chgData name="Raphaella ASHRAF" userId="5247841d-d595-4c30-b58a-9906097315c5" providerId="ADAL" clId="{49E1EDC4-949C-4C9A-9207-A653EB98B0DF}" dt="2024-11-19T09:17:18.019" v="4767" actId="47"/>
        <pc:sldMkLst>
          <pc:docMk/>
          <pc:sldMk cId="1217851948" sldId="2147476079"/>
        </pc:sldMkLst>
      </pc:sldChg>
      <pc:sldChg chg="add del ord">
        <pc:chgData name="Raphaella ASHRAF" userId="5247841d-d595-4c30-b58a-9906097315c5" providerId="ADAL" clId="{49E1EDC4-949C-4C9A-9207-A653EB98B0DF}" dt="2024-11-19T09:17:18.019" v="4767" actId="47"/>
        <pc:sldMkLst>
          <pc:docMk/>
          <pc:sldMk cId="2502816062" sldId="2147476080"/>
        </pc:sldMkLst>
      </pc:sldChg>
      <pc:sldChg chg="add del ord">
        <pc:chgData name="Raphaella ASHRAF" userId="5247841d-d595-4c30-b58a-9906097315c5" providerId="ADAL" clId="{49E1EDC4-949C-4C9A-9207-A653EB98B0DF}" dt="2024-11-19T09:17:18.019" v="4767" actId="47"/>
        <pc:sldMkLst>
          <pc:docMk/>
          <pc:sldMk cId="279025334" sldId="2147476081"/>
        </pc:sldMkLst>
      </pc:sldChg>
      <pc:sldChg chg="add del ord">
        <pc:chgData name="Raphaella ASHRAF" userId="5247841d-d595-4c30-b58a-9906097315c5" providerId="ADAL" clId="{49E1EDC4-949C-4C9A-9207-A653EB98B0DF}" dt="2024-11-19T09:17:18.019" v="4767" actId="47"/>
        <pc:sldMkLst>
          <pc:docMk/>
          <pc:sldMk cId="2453858885" sldId="2147476082"/>
        </pc:sldMkLst>
      </pc:sldChg>
      <pc:sldChg chg="add del ord">
        <pc:chgData name="Raphaella ASHRAF" userId="5247841d-d595-4c30-b58a-9906097315c5" providerId="ADAL" clId="{49E1EDC4-949C-4C9A-9207-A653EB98B0DF}" dt="2024-11-19T09:17:18.019" v="4767" actId="47"/>
        <pc:sldMkLst>
          <pc:docMk/>
          <pc:sldMk cId="1954007362" sldId="2147476083"/>
        </pc:sldMkLst>
      </pc:sldChg>
      <pc:sldChg chg="add del ord">
        <pc:chgData name="Raphaella ASHRAF" userId="5247841d-d595-4c30-b58a-9906097315c5" providerId="ADAL" clId="{49E1EDC4-949C-4C9A-9207-A653EB98B0DF}" dt="2024-11-19T09:17:18.019" v="4767" actId="47"/>
        <pc:sldMkLst>
          <pc:docMk/>
          <pc:sldMk cId="2306068329" sldId="2147476084"/>
        </pc:sldMkLst>
      </pc:sldChg>
      <pc:sldChg chg="add del ord">
        <pc:chgData name="Raphaella ASHRAF" userId="5247841d-d595-4c30-b58a-9906097315c5" providerId="ADAL" clId="{49E1EDC4-949C-4C9A-9207-A653EB98B0DF}" dt="2024-11-19T09:17:18.019" v="4767" actId="47"/>
        <pc:sldMkLst>
          <pc:docMk/>
          <pc:sldMk cId="1635514796" sldId="2147476085"/>
        </pc:sldMkLst>
      </pc:sldChg>
      <pc:sldChg chg="add del ord">
        <pc:chgData name="Raphaella ASHRAF" userId="5247841d-d595-4c30-b58a-9906097315c5" providerId="ADAL" clId="{49E1EDC4-949C-4C9A-9207-A653EB98B0DF}" dt="2024-11-19T09:17:18.019" v="4767" actId="47"/>
        <pc:sldMkLst>
          <pc:docMk/>
          <pc:sldMk cId="2260024963" sldId="2147476086"/>
        </pc:sldMkLst>
      </pc:sldChg>
      <pc:sldChg chg="add del ord">
        <pc:chgData name="Raphaella ASHRAF" userId="5247841d-d595-4c30-b58a-9906097315c5" providerId="ADAL" clId="{49E1EDC4-949C-4C9A-9207-A653EB98B0DF}" dt="2024-11-19T09:17:18.019" v="4767" actId="47"/>
        <pc:sldMkLst>
          <pc:docMk/>
          <pc:sldMk cId="654375241" sldId="2147476087"/>
        </pc:sldMkLst>
      </pc:sldChg>
      <pc:sldChg chg="add del ord">
        <pc:chgData name="Raphaella ASHRAF" userId="5247841d-d595-4c30-b58a-9906097315c5" providerId="ADAL" clId="{49E1EDC4-949C-4C9A-9207-A653EB98B0DF}" dt="2024-11-19T09:17:18.019" v="4767" actId="47"/>
        <pc:sldMkLst>
          <pc:docMk/>
          <pc:sldMk cId="1768374314" sldId="2147476088"/>
        </pc:sldMkLst>
      </pc:sldChg>
      <pc:sldChg chg="add del ord">
        <pc:chgData name="Raphaella ASHRAF" userId="5247841d-d595-4c30-b58a-9906097315c5" providerId="ADAL" clId="{49E1EDC4-949C-4C9A-9207-A653EB98B0DF}" dt="2024-11-19T09:17:18.019" v="4767" actId="47"/>
        <pc:sldMkLst>
          <pc:docMk/>
          <pc:sldMk cId="529333177" sldId="2147476089"/>
        </pc:sldMkLst>
      </pc:sldChg>
      <pc:sldChg chg="add del ord">
        <pc:chgData name="Raphaella ASHRAF" userId="5247841d-d595-4c30-b58a-9906097315c5" providerId="ADAL" clId="{49E1EDC4-949C-4C9A-9207-A653EB98B0DF}" dt="2024-11-19T09:17:18.019" v="4767" actId="47"/>
        <pc:sldMkLst>
          <pc:docMk/>
          <pc:sldMk cId="2121141999" sldId="2147476090"/>
        </pc:sldMkLst>
      </pc:sldChg>
      <pc:sldChg chg="add del ord">
        <pc:chgData name="Raphaella ASHRAF" userId="5247841d-d595-4c30-b58a-9906097315c5" providerId="ADAL" clId="{49E1EDC4-949C-4C9A-9207-A653EB98B0DF}" dt="2024-11-19T09:17:18.019" v="4767" actId="47"/>
        <pc:sldMkLst>
          <pc:docMk/>
          <pc:sldMk cId="1517020691" sldId="2147476091"/>
        </pc:sldMkLst>
      </pc:sldChg>
      <pc:sldChg chg="add del ord">
        <pc:chgData name="Raphaella ASHRAF" userId="5247841d-d595-4c30-b58a-9906097315c5" providerId="ADAL" clId="{49E1EDC4-949C-4C9A-9207-A653EB98B0DF}" dt="2024-11-19T09:17:18.019" v="4767" actId="47"/>
        <pc:sldMkLst>
          <pc:docMk/>
          <pc:sldMk cId="2978293491" sldId="2147476092"/>
        </pc:sldMkLst>
      </pc:sldChg>
      <pc:sldChg chg="add del ord">
        <pc:chgData name="Raphaella ASHRAF" userId="5247841d-d595-4c30-b58a-9906097315c5" providerId="ADAL" clId="{49E1EDC4-949C-4C9A-9207-A653EB98B0DF}" dt="2024-11-19T09:17:18.019" v="4767" actId="47"/>
        <pc:sldMkLst>
          <pc:docMk/>
          <pc:sldMk cId="2318388001" sldId="2147476093"/>
        </pc:sldMkLst>
      </pc:sldChg>
      <pc:sldChg chg="add del ord">
        <pc:chgData name="Raphaella ASHRAF" userId="5247841d-d595-4c30-b58a-9906097315c5" providerId="ADAL" clId="{49E1EDC4-949C-4C9A-9207-A653EB98B0DF}" dt="2024-11-19T09:17:18.019" v="4767" actId="47"/>
        <pc:sldMkLst>
          <pc:docMk/>
          <pc:sldMk cId="2316135706" sldId="2147476094"/>
        </pc:sldMkLst>
      </pc:sldChg>
      <pc:sldChg chg="add del ord">
        <pc:chgData name="Raphaella ASHRAF" userId="5247841d-d595-4c30-b58a-9906097315c5" providerId="ADAL" clId="{49E1EDC4-949C-4C9A-9207-A653EB98B0DF}" dt="2024-11-19T09:17:18.019" v="4767" actId="47"/>
        <pc:sldMkLst>
          <pc:docMk/>
          <pc:sldMk cId="2877796461" sldId="2147476095"/>
        </pc:sldMkLst>
      </pc:sldChg>
      <pc:sldChg chg="add del ord">
        <pc:chgData name="Raphaella ASHRAF" userId="5247841d-d595-4c30-b58a-9906097315c5" providerId="ADAL" clId="{49E1EDC4-949C-4C9A-9207-A653EB98B0DF}" dt="2024-11-19T09:17:18.019" v="4767" actId="47"/>
        <pc:sldMkLst>
          <pc:docMk/>
          <pc:sldMk cId="2545751362" sldId="2147476096"/>
        </pc:sldMkLst>
      </pc:sldChg>
      <pc:sldChg chg="add del ord">
        <pc:chgData name="Raphaella ASHRAF" userId="5247841d-d595-4c30-b58a-9906097315c5" providerId="ADAL" clId="{49E1EDC4-949C-4C9A-9207-A653EB98B0DF}" dt="2024-11-19T09:17:18.019" v="4767" actId="47"/>
        <pc:sldMkLst>
          <pc:docMk/>
          <pc:sldMk cId="1057683032" sldId="2147476097"/>
        </pc:sldMkLst>
      </pc:sldChg>
      <pc:sldChg chg="add del ord">
        <pc:chgData name="Raphaella ASHRAF" userId="5247841d-d595-4c30-b58a-9906097315c5" providerId="ADAL" clId="{49E1EDC4-949C-4C9A-9207-A653EB98B0DF}" dt="2024-11-19T09:17:18.019" v="4767" actId="47"/>
        <pc:sldMkLst>
          <pc:docMk/>
          <pc:sldMk cId="1280585014" sldId="2147476098"/>
        </pc:sldMkLst>
      </pc:sldChg>
      <pc:sldChg chg="add del ord">
        <pc:chgData name="Raphaella ASHRAF" userId="5247841d-d595-4c30-b58a-9906097315c5" providerId="ADAL" clId="{49E1EDC4-949C-4C9A-9207-A653EB98B0DF}" dt="2024-11-19T09:17:18.019" v="4767" actId="47"/>
        <pc:sldMkLst>
          <pc:docMk/>
          <pc:sldMk cId="1277732688" sldId="2147476099"/>
        </pc:sldMkLst>
      </pc:sldChg>
      <pc:sldChg chg="add del ord">
        <pc:chgData name="Raphaella ASHRAF" userId="5247841d-d595-4c30-b58a-9906097315c5" providerId="ADAL" clId="{49E1EDC4-949C-4C9A-9207-A653EB98B0DF}" dt="2024-11-19T09:17:18.019" v="4767" actId="47"/>
        <pc:sldMkLst>
          <pc:docMk/>
          <pc:sldMk cId="1185535083" sldId="2147476100"/>
        </pc:sldMkLst>
      </pc:sldChg>
      <pc:sldChg chg="add del ord">
        <pc:chgData name="Raphaella ASHRAF" userId="5247841d-d595-4c30-b58a-9906097315c5" providerId="ADAL" clId="{49E1EDC4-949C-4C9A-9207-A653EB98B0DF}" dt="2024-11-19T09:17:18.019" v="4767" actId="47"/>
        <pc:sldMkLst>
          <pc:docMk/>
          <pc:sldMk cId="2463189085" sldId="2147476101"/>
        </pc:sldMkLst>
      </pc:sldChg>
      <pc:sldChg chg="add del ord">
        <pc:chgData name="Raphaella ASHRAF" userId="5247841d-d595-4c30-b58a-9906097315c5" providerId="ADAL" clId="{49E1EDC4-949C-4C9A-9207-A653EB98B0DF}" dt="2024-11-19T09:17:18.019" v="4767" actId="47"/>
        <pc:sldMkLst>
          <pc:docMk/>
          <pc:sldMk cId="2782999345" sldId="2147476102"/>
        </pc:sldMkLst>
      </pc:sldChg>
      <pc:sldChg chg="add del ord">
        <pc:chgData name="Raphaella ASHRAF" userId="5247841d-d595-4c30-b58a-9906097315c5" providerId="ADAL" clId="{49E1EDC4-949C-4C9A-9207-A653EB98B0DF}" dt="2024-11-19T09:17:18.019" v="4767" actId="47"/>
        <pc:sldMkLst>
          <pc:docMk/>
          <pc:sldMk cId="110034301" sldId="2147476103"/>
        </pc:sldMkLst>
      </pc:sldChg>
      <pc:sldChg chg="add del ord">
        <pc:chgData name="Raphaella ASHRAF" userId="5247841d-d595-4c30-b58a-9906097315c5" providerId="ADAL" clId="{49E1EDC4-949C-4C9A-9207-A653EB98B0DF}" dt="2024-11-19T09:17:18.019" v="4767" actId="47"/>
        <pc:sldMkLst>
          <pc:docMk/>
          <pc:sldMk cId="2972705972" sldId="2147476104"/>
        </pc:sldMkLst>
      </pc:sldChg>
      <pc:sldChg chg="add del ord">
        <pc:chgData name="Raphaella ASHRAF" userId="5247841d-d595-4c30-b58a-9906097315c5" providerId="ADAL" clId="{49E1EDC4-949C-4C9A-9207-A653EB98B0DF}" dt="2024-11-19T09:17:18.019" v="4767" actId="47"/>
        <pc:sldMkLst>
          <pc:docMk/>
          <pc:sldMk cId="3772552822" sldId="2147476105"/>
        </pc:sldMkLst>
      </pc:sldChg>
      <pc:sldChg chg="add del ord">
        <pc:chgData name="Raphaella ASHRAF" userId="5247841d-d595-4c30-b58a-9906097315c5" providerId="ADAL" clId="{49E1EDC4-949C-4C9A-9207-A653EB98B0DF}" dt="2024-11-19T09:17:18.019" v="4767" actId="47"/>
        <pc:sldMkLst>
          <pc:docMk/>
          <pc:sldMk cId="1684978968" sldId="2147476106"/>
        </pc:sldMkLst>
      </pc:sldChg>
      <pc:sldChg chg="add del ord">
        <pc:chgData name="Raphaella ASHRAF" userId="5247841d-d595-4c30-b58a-9906097315c5" providerId="ADAL" clId="{49E1EDC4-949C-4C9A-9207-A653EB98B0DF}" dt="2024-11-19T09:17:18.019" v="4767" actId="47"/>
        <pc:sldMkLst>
          <pc:docMk/>
          <pc:sldMk cId="2840401372" sldId="2147476107"/>
        </pc:sldMkLst>
      </pc:sldChg>
      <pc:sldChg chg="add del ord">
        <pc:chgData name="Raphaella ASHRAF" userId="5247841d-d595-4c30-b58a-9906097315c5" providerId="ADAL" clId="{49E1EDC4-949C-4C9A-9207-A653EB98B0DF}" dt="2024-11-19T09:17:18.019" v="4767" actId="47"/>
        <pc:sldMkLst>
          <pc:docMk/>
          <pc:sldMk cId="3718008272" sldId="2147476108"/>
        </pc:sldMkLst>
      </pc:sldChg>
      <pc:sldChg chg="add del ord">
        <pc:chgData name="Raphaella ASHRAF" userId="5247841d-d595-4c30-b58a-9906097315c5" providerId="ADAL" clId="{49E1EDC4-949C-4C9A-9207-A653EB98B0DF}" dt="2024-11-19T09:17:18.019" v="4767" actId="47"/>
        <pc:sldMkLst>
          <pc:docMk/>
          <pc:sldMk cId="374411319" sldId="2147476109"/>
        </pc:sldMkLst>
      </pc:sldChg>
      <pc:sldChg chg="add del ord">
        <pc:chgData name="Raphaella ASHRAF" userId="5247841d-d595-4c30-b58a-9906097315c5" providerId="ADAL" clId="{49E1EDC4-949C-4C9A-9207-A653EB98B0DF}" dt="2024-11-19T09:17:18.019" v="4767" actId="47"/>
        <pc:sldMkLst>
          <pc:docMk/>
          <pc:sldMk cId="4091903171" sldId="2147476110"/>
        </pc:sldMkLst>
      </pc:sldChg>
      <pc:sldChg chg="add del ord">
        <pc:chgData name="Raphaella ASHRAF" userId="5247841d-d595-4c30-b58a-9906097315c5" providerId="ADAL" clId="{49E1EDC4-949C-4C9A-9207-A653EB98B0DF}" dt="2024-11-19T09:17:18.019" v="4767" actId="47"/>
        <pc:sldMkLst>
          <pc:docMk/>
          <pc:sldMk cId="2409361266" sldId="2147476111"/>
        </pc:sldMkLst>
      </pc:sldChg>
      <pc:sldChg chg="add del ord">
        <pc:chgData name="Raphaella ASHRAF" userId="5247841d-d595-4c30-b58a-9906097315c5" providerId="ADAL" clId="{49E1EDC4-949C-4C9A-9207-A653EB98B0DF}" dt="2024-11-19T09:17:18.019" v="4767" actId="47"/>
        <pc:sldMkLst>
          <pc:docMk/>
          <pc:sldMk cId="3243542959" sldId="2147476112"/>
        </pc:sldMkLst>
      </pc:sldChg>
      <pc:sldChg chg="add del ord">
        <pc:chgData name="Raphaella ASHRAF" userId="5247841d-d595-4c30-b58a-9906097315c5" providerId="ADAL" clId="{49E1EDC4-949C-4C9A-9207-A653EB98B0DF}" dt="2024-11-19T09:17:18.019" v="4767" actId="47"/>
        <pc:sldMkLst>
          <pc:docMk/>
          <pc:sldMk cId="1951456415" sldId="2147476113"/>
        </pc:sldMkLst>
      </pc:sldChg>
      <pc:sldChg chg="add del ord">
        <pc:chgData name="Raphaella ASHRAF" userId="5247841d-d595-4c30-b58a-9906097315c5" providerId="ADAL" clId="{49E1EDC4-949C-4C9A-9207-A653EB98B0DF}" dt="2024-11-19T09:17:18.019" v="4767" actId="47"/>
        <pc:sldMkLst>
          <pc:docMk/>
          <pc:sldMk cId="3897158755" sldId="2147476114"/>
        </pc:sldMkLst>
      </pc:sldChg>
      <pc:sldChg chg="add del ord">
        <pc:chgData name="Raphaella ASHRAF" userId="5247841d-d595-4c30-b58a-9906097315c5" providerId="ADAL" clId="{49E1EDC4-949C-4C9A-9207-A653EB98B0DF}" dt="2024-11-19T09:17:18.019" v="4767" actId="47"/>
        <pc:sldMkLst>
          <pc:docMk/>
          <pc:sldMk cId="1679097448" sldId="2147476115"/>
        </pc:sldMkLst>
      </pc:sldChg>
      <pc:sldChg chg="add del ord">
        <pc:chgData name="Raphaella ASHRAF" userId="5247841d-d595-4c30-b58a-9906097315c5" providerId="ADAL" clId="{49E1EDC4-949C-4C9A-9207-A653EB98B0DF}" dt="2024-11-19T09:17:18.019" v="4767" actId="47"/>
        <pc:sldMkLst>
          <pc:docMk/>
          <pc:sldMk cId="123276517" sldId="2147476116"/>
        </pc:sldMkLst>
      </pc:sldChg>
      <pc:sldChg chg="add del ord">
        <pc:chgData name="Raphaella ASHRAF" userId="5247841d-d595-4c30-b58a-9906097315c5" providerId="ADAL" clId="{49E1EDC4-949C-4C9A-9207-A653EB98B0DF}" dt="2024-11-19T09:17:18.019" v="4767" actId="47"/>
        <pc:sldMkLst>
          <pc:docMk/>
          <pc:sldMk cId="3356097266" sldId="2147476117"/>
        </pc:sldMkLst>
      </pc:sldChg>
      <pc:sldChg chg="add del ord">
        <pc:chgData name="Raphaella ASHRAF" userId="5247841d-d595-4c30-b58a-9906097315c5" providerId="ADAL" clId="{49E1EDC4-949C-4C9A-9207-A653EB98B0DF}" dt="2024-11-19T09:17:18.019" v="4767" actId="47"/>
        <pc:sldMkLst>
          <pc:docMk/>
          <pc:sldMk cId="729273967" sldId="2147476118"/>
        </pc:sldMkLst>
      </pc:sldChg>
      <pc:sldChg chg="add del ord">
        <pc:chgData name="Raphaella ASHRAF" userId="5247841d-d595-4c30-b58a-9906097315c5" providerId="ADAL" clId="{49E1EDC4-949C-4C9A-9207-A653EB98B0DF}" dt="2024-11-19T09:17:18.019" v="4767" actId="47"/>
        <pc:sldMkLst>
          <pc:docMk/>
          <pc:sldMk cId="862404981" sldId="2147476119"/>
        </pc:sldMkLst>
      </pc:sldChg>
      <pc:sldChg chg="add del ord">
        <pc:chgData name="Raphaella ASHRAF" userId="5247841d-d595-4c30-b58a-9906097315c5" providerId="ADAL" clId="{49E1EDC4-949C-4C9A-9207-A653EB98B0DF}" dt="2024-11-19T09:17:18.019" v="4767" actId="47"/>
        <pc:sldMkLst>
          <pc:docMk/>
          <pc:sldMk cId="3579955228" sldId="2147476120"/>
        </pc:sldMkLst>
      </pc:sldChg>
      <pc:sldChg chg="add del ord">
        <pc:chgData name="Raphaella ASHRAF" userId="5247841d-d595-4c30-b58a-9906097315c5" providerId="ADAL" clId="{49E1EDC4-949C-4C9A-9207-A653EB98B0DF}" dt="2024-11-19T09:17:18.019" v="4767" actId="47"/>
        <pc:sldMkLst>
          <pc:docMk/>
          <pc:sldMk cId="1077628457" sldId="2147476121"/>
        </pc:sldMkLst>
      </pc:sldChg>
      <pc:sldChg chg="add del ord">
        <pc:chgData name="Raphaella ASHRAF" userId="5247841d-d595-4c30-b58a-9906097315c5" providerId="ADAL" clId="{49E1EDC4-949C-4C9A-9207-A653EB98B0DF}" dt="2024-11-19T09:17:18.019" v="4767" actId="47"/>
        <pc:sldMkLst>
          <pc:docMk/>
          <pc:sldMk cId="1124789711" sldId="2147476122"/>
        </pc:sldMkLst>
      </pc:sldChg>
      <pc:sldChg chg="add del ord">
        <pc:chgData name="Raphaella ASHRAF" userId="5247841d-d595-4c30-b58a-9906097315c5" providerId="ADAL" clId="{49E1EDC4-949C-4C9A-9207-A653EB98B0DF}" dt="2024-11-19T09:17:18.019" v="4767" actId="47"/>
        <pc:sldMkLst>
          <pc:docMk/>
          <pc:sldMk cId="2034869192" sldId="2147476123"/>
        </pc:sldMkLst>
      </pc:sldChg>
      <pc:sldChg chg="add del ord">
        <pc:chgData name="Raphaella ASHRAF" userId="5247841d-d595-4c30-b58a-9906097315c5" providerId="ADAL" clId="{49E1EDC4-949C-4C9A-9207-A653EB98B0DF}" dt="2024-11-19T09:17:18.019" v="4767" actId="47"/>
        <pc:sldMkLst>
          <pc:docMk/>
          <pc:sldMk cId="537501843" sldId="2147476124"/>
        </pc:sldMkLst>
      </pc:sldChg>
      <pc:sldChg chg="add del ord">
        <pc:chgData name="Raphaella ASHRAF" userId="5247841d-d595-4c30-b58a-9906097315c5" providerId="ADAL" clId="{49E1EDC4-949C-4C9A-9207-A653EB98B0DF}" dt="2024-11-19T09:17:18.019" v="4767" actId="47"/>
        <pc:sldMkLst>
          <pc:docMk/>
          <pc:sldMk cId="839665519" sldId="2147476125"/>
        </pc:sldMkLst>
      </pc:sldChg>
      <pc:sldChg chg="add del ord">
        <pc:chgData name="Raphaella ASHRAF" userId="5247841d-d595-4c30-b58a-9906097315c5" providerId="ADAL" clId="{49E1EDC4-949C-4C9A-9207-A653EB98B0DF}" dt="2024-11-19T09:17:18.019" v="4767" actId="47"/>
        <pc:sldMkLst>
          <pc:docMk/>
          <pc:sldMk cId="598004986" sldId="2147476126"/>
        </pc:sldMkLst>
      </pc:sldChg>
      <pc:sldChg chg="add del ord">
        <pc:chgData name="Raphaella ASHRAF" userId="5247841d-d595-4c30-b58a-9906097315c5" providerId="ADAL" clId="{49E1EDC4-949C-4C9A-9207-A653EB98B0DF}" dt="2024-11-19T09:17:18.019" v="4767" actId="47"/>
        <pc:sldMkLst>
          <pc:docMk/>
          <pc:sldMk cId="3763979556" sldId="2147476127"/>
        </pc:sldMkLst>
      </pc:sldChg>
      <pc:sldChg chg="add del ord">
        <pc:chgData name="Raphaella ASHRAF" userId="5247841d-d595-4c30-b58a-9906097315c5" providerId="ADAL" clId="{49E1EDC4-949C-4C9A-9207-A653EB98B0DF}" dt="2024-11-19T09:17:18.019" v="4767" actId="47"/>
        <pc:sldMkLst>
          <pc:docMk/>
          <pc:sldMk cId="1012525025" sldId="2147476128"/>
        </pc:sldMkLst>
      </pc:sldChg>
      <pc:sldChg chg="add del ord">
        <pc:chgData name="Raphaella ASHRAF" userId="5247841d-d595-4c30-b58a-9906097315c5" providerId="ADAL" clId="{49E1EDC4-949C-4C9A-9207-A653EB98B0DF}" dt="2024-11-19T09:17:18.019" v="4767" actId="47"/>
        <pc:sldMkLst>
          <pc:docMk/>
          <pc:sldMk cId="2289318141" sldId="2147476129"/>
        </pc:sldMkLst>
      </pc:sldChg>
      <pc:sldChg chg="add del ord">
        <pc:chgData name="Raphaella ASHRAF" userId="5247841d-d595-4c30-b58a-9906097315c5" providerId="ADAL" clId="{49E1EDC4-949C-4C9A-9207-A653EB98B0DF}" dt="2024-11-19T09:17:18.019" v="4767" actId="47"/>
        <pc:sldMkLst>
          <pc:docMk/>
          <pc:sldMk cId="4190645620" sldId="2147476130"/>
        </pc:sldMkLst>
      </pc:sldChg>
      <pc:sldChg chg="add del ord">
        <pc:chgData name="Raphaella ASHRAF" userId="5247841d-d595-4c30-b58a-9906097315c5" providerId="ADAL" clId="{49E1EDC4-949C-4C9A-9207-A653EB98B0DF}" dt="2024-11-19T09:17:18.019" v="4767" actId="47"/>
        <pc:sldMkLst>
          <pc:docMk/>
          <pc:sldMk cId="485121308" sldId="2147476131"/>
        </pc:sldMkLst>
      </pc:sldChg>
      <pc:sldChg chg="add del ord">
        <pc:chgData name="Raphaella ASHRAF" userId="5247841d-d595-4c30-b58a-9906097315c5" providerId="ADAL" clId="{49E1EDC4-949C-4C9A-9207-A653EB98B0DF}" dt="2024-11-19T09:17:18.019" v="4767" actId="47"/>
        <pc:sldMkLst>
          <pc:docMk/>
          <pc:sldMk cId="1359527557" sldId="2147476132"/>
        </pc:sldMkLst>
      </pc:sldChg>
      <pc:sldChg chg="add del ord">
        <pc:chgData name="Raphaella ASHRAF" userId="5247841d-d595-4c30-b58a-9906097315c5" providerId="ADAL" clId="{49E1EDC4-949C-4C9A-9207-A653EB98B0DF}" dt="2024-11-19T09:17:18.019" v="4767" actId="47"/>
        <pc:sldMkLst>
          <pc:docMk/>
          <pc:sldMk cId="4122502980" sldId="2147476133"/>
        </pc:sldMkLst>
      </pc:sldChg>
      <pc:sldChg chg="add del ord">
        <pc:chgData name="Raphaella ASHRAF" userId="5247841d-d595-4c30-b58a-9906097315c5" providerId="ADAL" clId="{49E1EDC4-949C-4C9A-9207-A653EB98B0DF}" dt="2024-11-19T09:17:18.019" v="4767" actId="47"/>
        <pc:sldMkLst>
          <pc:docMk/>
          <pc:sldMk cId="4164468843" sldId="2147476134"/>
        </pc:sldMkLst>
      </pc:sldChg>
      <pc:sldChg chg="add del ord">
        <pc:chgData name="Raphaella ASHRAF" userId="5247841d-d595-4c30-b58a-9906097315c5" providerId="ADAL" clId="{49E1EDC4-949C-4C9A-9207-A653EB98B0DF}" dt="2024-11-19T09:17:18.019" v="4767" actId="47"/>
        <pc:sldMkLst>
          <pc:docMk/>
          <pc:sldMk cId="1460649250" sldId="2147476135"/>
        </pc:sldMkLst>
      </pc:sldChg>
      <pc:sldChg chg="add del ord">
        <pc:chgData name="Raphaella ASHRAF" userId="5247841d-d595-4c30-b58a-9906097315c5" providerId="ADAL" clId="{49E1EDC4-949C-4C9A-9207-A653EB98B0DF}" dt="2024-11-19T09:17:18.019" v="4767" actId="47"/>
        <pc:sldMkLst>
          <pc:docMk/>
          <pc:sldMk cId="1279274141" sldId="2147476136"/>
        </pc:sldMkLst>
      </pc:sldChg>
      <pc:sldChg chg="add del ord">
        <pc:chgData name="Raphaella ASHRAF" userId="5247841d-d595-4c30-b58a-9906097315c5" providerId="ADAL" clId="{49E1EDC4-949C-4C9A-9207-A653EB98B0DF}" dt="2024-11-19T09:17:18.019" v="4767" actId="47"/>
        <pc:sldMkLst>
          <pc:docMk/>
          <pc:sldMk cId="1098441720" sldId="2147476137"/>
        </pc:sldMkLst>
      </pc:sldChg>
      <pc:sldChg chg="add del ord">
        <pc:chgData name="Raphaella ASHRAF" userId="5247841d-d595-4c30-b58a-9906097315c5" providerId="ADAL" clId="{49E1EDC4-949C-4C9A-9207-A653EB98B0DF}" dt="2024-11-19T09:17:18.019" v="4767" actId="47"/>
        <pc:sldMkLst>
          <pc:docMk/>
          <pc:sldMk cId="3981286363" sldId="2147476138"/>
        </pc:sldMkLst>
      </pc:sldChg>
      <pc:sldChg chg="add del ord">
        <pc:chgData name="Raphaella ASHRAF" userId="5247841d-d595-4c30-b58a-9906097315c5" providerId="ADAL" clId="{49E1EDC4-949C-4C9A-9207-A653EB98B0DF}" dt="2024-11-19T09:17:18.019" v="4767" actId="47"/>
        <pc:sldMkLst>
          <pc:docMk/>
          <pc:sldMk cId="3913862772" sldId="2147476139"/>
        </pc:sldMkLst>
      </pc:sldChg>
      <pc:sldChg chg="add del ord">
        <pc:chgData name="Raphaella ASHRAF" userId="5247841d-d595-4c30-b58a-9906097315c5" providerId="ADAL" clId="{49E1EDC4-949C-4C9A-9207-A653EB98B0DF}" dt="2024-11-19T09:17:18.019" v="4767" actId="47"/>
        <pc:sldMkLst>
          <pc:docMk/>
          <pc:sldMk cId="941984773" sldId="2147476140"/>
        </pc:sldMkLst>
      </pc:sldChg>
      <pc:sldChg chg="add del ord">
        <pc:chgData name="Raphaella ASHRAF" userId="5247841d-d595-4c30-b58a-9906097315c5" providerId="ADAL" clId="{49E1EDC4-949C-4C9A-9207-A653EB98B0DF}" dt="2024-11-19T09:17:18.019" v="4767" actId="47"/>
        <pc:sldMkLst>
          <pc:docMk/>
          <pc:sldMk cId="933212943" sldId="2147476141"/>
        </pc:sldMkLst>
      </pc:sldChg>
      <pc:sldChg chg="add del ord">
        <pc:chgData name="Raphaella ASHRAF" userId="5247841d-d595-4c30-b58a-9906097315c5" providerId="ADAL" clId="{49E1EDC4-949C-4C9A-9207-A653EB98B0DF}" dt="2024-11-19T09:17:18.019" v="4767" actId="47"/>
        <pc:sldMkLst>
          <pc:docMk/>
          <pc:sldMk cId="3416958872" sldId="2147476142"/>
        </pc:sldMkLst>
      </pc:sldChg>
      <pc:sldChg chg="add del ord">
        <pc:chgData name="Raphaella ASHRAF" userId="5247841d-d595-4c30-b58a-9906097315c5" providerId="ADAL" clId="{49E1EDC4-949C-4C9A-9207-A653EB98B0DF}" dt="2024-11-19T09:17:18.019" v="4767" actId="47"/>
        <pc:sldMkLst>
          <pc:docMk/>
          <pc:sldMk cId="4268348135" sldId="2147476143"/>
        </pc:sldMkLst>
      </pc:sldChg>
      <pc:sldChg chg="add del ord">
        <pc:chgData name="Raphaella ASHRAF" userId="5247841d-d595-4c30-b58a-9906097315c5" providerId="ADAL" clId="{49E1EDC4-949C-4C9A-9207-A653EB98B0DF}" dt="2024-11-19T09:17:18.019" v="4767" actId="47"/>
        <pc:sldMkLst>
          <pc:docMk/>
          <pc:sldMk cId="3071892946" sldId="2147476144"/>
        </pc:sldMkLst>
      </pc:sldChg>
      <pc:sldChg chg="add del ord">
        <pc:chgData name="Raphaella ASHRAF" userId="5247841d-d595-4c30-b58a-9906097315c5" providerId="ADAL" clId="{49E1EDC4-949C-4C9A-9207-A653EB98B0DF}" dt="2024-11-19T09:17:18.019" v="4767" actId="47"/>
        <pc:sldMkLst>
          <pc:docMk/>
          <pc:sldMk cId="479264510" sldId="2147476145"/>
        </pc:sldMkLst>
      </pc:sldChg>
      <pc:sldChg chg="add del ord">
        <pc:chgData name="Raphaella ASHRAF" userId="5247841d-d595-4c30-b58a-9906097315c5" providerId="ADAL" clId="{49E1EDC4-949C-4C9A-9207-A653EB98B0DF}" dt="2024-11-19T09:17:18.019" v="4767" actId="47"/>
        <pc:sldMkLst>
          <pc:docMk/>
          <pc:sldMk cId="491232985" sldId="2147476146"/>
        </pc:sldMkLst>
      </pc:sldChg>
      <pc:sldChg chg="add del ord">
        <pc:chgData name="Raphaella ASHRAF" userId="5247841d-d595-4c30-b58a-9906097315c5" providerId="ADAL" clId="{49E1EDC4-949C-4C9A-9207-A653EB98B0DF}" dt="2024-11-19T09:17:18.019" v="4767" actId="47"/>
        <pc:sldMkLst>
          <pc:docMk/>
          <pc:sldMk cId="1744123880" sldId="2147476147"/>
        </pc:sldMkLst>
      </pc:sldChg>
      <pc:sldChg chg="add del ord">
        <pc:chgData name="Raphaella ASHRAF" userId="5247841d-d595-4c30-b58a-9906097315c5" providerId="ADAL" clId="{49E1EDC4-949C-4C9A-9207-A653EB98B0DF}" dt="2024-11-19T09:17:18.019" v="4767" actId="47"/>
        <pc:sldMkLst>
          <pc:docMk/>
          <pc:sldMk cId="4228984102" sldId="2147476148"/>
        </pc:sldMkLst>
      </pc:sldChg>
      <pc:sldChg chg="add del ord">
        <pc:chgData name="Raphaella ASHRAF" userId="5247841d-d595-4c30-b58a-9906097315c5" providerId="ADAL" clId="{49E1EDC4-949C-4C9A-9207-A653EB98B0DF}" dt="2024-11-19T09:17:18.019" v="4767" actId="47"/>
        <pc:sldMkLst>
          <pc:docMk/>
          <pc:sldMk cId="1474429039" sldId="2147476149"/>
        </pc:sldMkLst>
      </pc:sldChg>
      <pc:sldChg chg="add del ord">
        <pc:chgData name="Raphaella ASHRAF" userId="5247841d-d595-4c30-b58a-9906097315c5" providerId="ADAL" clId="{49E1EDC4-949C-4C9A-9207-A653EB98B0DF}" dt="2024-11-19T09:17:18.019" v="4767" actId="47"/>
        <pc:sldMkLst>
          <pc:docMk/>
          <pc:sldMk cId="1184804183" sldId="2147476150"/>
        </pc:sldMkLst>
      </pc:sldChg>
      <pc:sldChg chg="add del ord">
        <pc:chgData name="Raphaella ASHRAF" userId="5247841d-d595-4c30-b58a-9906097315c5" providerId="ADAL" clId="{49E1EDC4-949C-4C9A-9207-A653EB98B0DF}" dt="2024-11-19T09:17:18.019" v="4767" actId="47"/>
        <pc:sldMkLst>
          <pc:docMk/>
          <pc:sldMk cId="1535993581" sldId="2147476151"/>
        </pc:sldMkLst>
      </pc:sldChg>
      <pc:sldChg chg="add del ord">
        <pc:chgData name="Raphaella ASHRAF" userId="5247841d-d595-4c30-b58a-9906097315c5" providerId="ADAL" clId="{49E1EDC4-949C-4C9A-9207-A653EB98B0DF}" dt="2024-11-19T09:17:18.019" v="4767" actId="47"/>
        <pc:sldMkLst>
          <pc:docMk/>
          <pc:sldMk cId="3583329084" sldId="2147476152"/>
        </pc:sldMkLst>
      </pc:sldChg>
      <pc:sldChg chg="add del ord">
        <pc:chgData name="Raphaella ASHRAF" userId="5247841d-d595-4c30-b58a-9906097315c5" providerId="ADAL" clId="{49E1EDC4-949C-4C9A-9207-A653EB98B0DF}" dt="2024-11-19T09:17:18.019" v="4767" actId="47"/>
        <pc:sldMkLst>
          <pc:docMk/>
          <pc:sldMk cId="4054230028" sldId="2147476153"/>
        </pc:sldMkLst>
      </pc:sldChg>
      <pc:sldChg chg="add del ord">
        <pc:chgData name="Raphaella ASHRAF" userId="5247841d-d595-4c30-b58a-9906097315c5" providerId="ADAL" clId="{49E1EDC4-949C-4C9A-9207-A653EB98B0DF}" dt="2024-11-19T09:17:18.019" v="4767" actId="47"/>
        <pc:sldMkLst>
          <pc:docMk/>
          <pc:sldMk cId="1995168816" sldId="2147476154"/>
        </pc:sldMkLst>
      </pc:sldChg>
      <pc:sldChg chg="add del ord">
        <pc:chgData name="Raphaella ASHRAF" userId="5247841d-d595-4c30-b58a-9906097315c5" providerId="ADAL" clId="{49E1EDC4-949C-4C9A-9207-A653EB98B0DF}" dt="2024-11-19T09:17:18.019" v="4767" actId="47"/>
        <pc:sldMkLst>
          <pc:docMk/>
          <pc:sldMk cId="308811840" sldId="2147476155"/>
        </pc:sldMkLst>
      </pc:sldChg>
      <pc:sldChg chg="add del ord">
        <pc:chgData name="Raphaella ASHRAF" userId="5247841d-d595-4c30-b58a-9906097315c5" providerId="ADAL" clId="{49E1EDC4-949C-4C9A-9207-A653EB98B0DF}" dt="2024-11-19T09:17:18.019" v="4767" actId="47"/>
        <pc:sldMkLst>
          <pc:docMk/>
          <pc:sldMk cId="174297238" sldId="2147476156"/>
        </pc:sldMkLst>
      </pc:sldChg>
      <pc:sldChg chg="add del ord">
        <pc:chgData name="Raphaella ASHRAF" userId="5247841d-d595-4c30-b58a-9906097315c5" providerId="ADAL" clId="{49E1EDC4-949C-4C9A-9207-A653EB98B0DF}" dt="2024-11-19T09:17:18.019" v="4767" actId="47"/>
        <pc:sldMkLst>
          <pc:docMk/>
          <pc:sldMk cId="4120618073" sldId="2147476157"/>
        </pc:sldMkLst>
      </pc:sldChg>
      <pc:sldChg chg="add del ord">
        <pc:chgData name="Raphaella ASHRAF" userId="5247841d-d595-4c30-b58a-9906097315c5" providerId="ADAL" clId="{49E1EDC4-949C-4C9A-9207-A653EB98B0DF}" dt="2024-11-19T09:17:18.019" v="4767" actId="47"/>
        <pc:sldMkLst>
          <pc:docMk/>
          <pc:sldMk cId="3622522157" sldId="2147476158"/>
        </pc:sldMkLst>
      </pc:sldChg>
      <pc:sldChg chg="add del ord">
        <pc:chgData name="Raphaella ASHRAF" userId="5247841d-d595-4c30-b58a-9906097315c5" providerId="ADAL" clId="{49E1EDC4-949C-4C9A-9207-A653EB98B0DF}" dt="2024-11-19T09:17:18.019" v="4767" actId="47"/>
        <pc:sldMkLst>
          <pc:docMk/>
          <pc:sldMk cId="1240753151" sldId="2147476159"/>
        </pc:sldMkLst>
      </pc:sldChg>
      <pc:sldChg chg="add del ord">
        <pc:chgData name="Raphaella ASHRAF" userId="5247841d-d595-4c30-b58a-9906097315c5" providerId="ADAL" clId="{49E1EDC4-949C-4C9A-9207-A653EB98B0DF}" dt="2024-11-19T09:17:18.019" v="4767" actId="47"/>
        <pc:sldMkLst>
          <pc:docMk/>
          <pc:sldMk cId="3582353941" sldId="2147476160"/>
        </pc:sldMkLst>
      </pc:sldChg>
      <pc:sldChg chg="add del ord">
        <pc:chgData name="Raphaella ASHRAF" userId="5247841d-d595-4c30-b58a-9906097315c5" providerId="ADAL" clId="{49E1EDC4-949C-4C9A-9207-A653EB98B0DF}" dt="2024-11-19T09:17:18.019" v="4767" actId="47"/>
        <pc:sldMkLst>
          <pc:docMk/>
          <pc:sldMk cId="3077566192" sldId="2147476161"/>
        </pc:sldMkLst>
      </pc:sldChg>
      <pc:sldChg chg="add del ord">
        <pc:chgData name="Raphaella ASHRAF" userId="5247841d-d595-4c30-b58a-9906097315c5" providerId="ADAL" clId="{49E1EDC4-949C-4C9A-9207-A653EB98B0DF}" dt="2024-11-19T09:17:18.019" v="4767" actId="47"/>
        <pc:sldMkLst>
          <pc:docMk/>
          <pc:sldMk cId="1767202829" sldId="2147476162"/>
        </pc:sldMkLst>
      </pc:sldChg>
      <pc:sldChg chg="add del ord">
        <pc:chgData name="Raphaella ASHRAF" userId="5247841d-d595-4c30-b58a-9906097315c5" providerId="ADAL" clId="{49E1EDC4-949C-4C9A-9207-A653EB98B0DF}" dt="2024-11-19T09:17:18.019" v="4767" actId="47"/>
        <pc:sldMkLst>
          <pc:docMk/>
          <pc:sldMk cId="3013143409" sldId="2147476163"/>
        </pc:sldMkLst>
      </pc:sldChg>
      <pc:sldChg chg="add del ord">
        <pc:chgData name="Raphaella ASHRAF" userId="5247841d-d595-4c30-b58a-9906097315c5" providerId="ADAL" clId="{49E1EDC4-949C-4C9A-9207-A653EB98B0DF}" dt="2024-11-19T09:17:18.019" v="4767" actId="47"/>
        <pc:sldMkLst>
          <pc:docMk/>
          <pc:sldMk cId="1106274000" sldId="2147476164"/>
        </pc:sldMkLst>
      </pc:sldChg>
      <pc:sldChg chg="add del ord">
        <pc:chgData name="Raphaella ASHRAF" userId="5247841d-d595-4c30-b58a-9906097315c5" providerId="ADAL" clId="{49E1EDC4-949C-4C9A-9207-A653EB98B0DF}" dt="2024-11-19T09:17:18.019" v="4767" actId="47"/>
        <pc:sldMkLst>
          <pc:docMk/>
          <pc:sldMk cId="2269695986" sldId="2147476165"/>
        </pc:sldMkLst>
      </pc:sldChg>
      <pc:sldChg chg="add del ord">
        <pc:chgData name="Raphaella ASHRAF" userId="5247841d-d595-4c30-b58a-9906097315c5" providerId="ADAL" clId="{49E1EDC4-949C-4C9A-9207-A653EB98B0DF}" dt="2024-11-19T09:17:18.019" v="4767" actId="47"/>
        <pc:sldMkLst>
          <pc:docMk/>
          <pc:sldMk cId="4017686328" sldId="2147476166"/>
        </pc:sldMkLst>
      </pc:sldChg>
      <pc:sldChg chg="add del ord">
        <pc:chgData name="Raphaella ASHRAF" userId="5247841d-d595-4c30-b58a-9906097315c5" providerId="ADAL" clId="{49E1EDC4-949C-4C9A-9207-A653EB98B0DF}" dt="2024-11-19T09:17:18.019" v="4767" actId="47"/>
        <pc:sldMkLst>
          <pc:docMk/>
          <pc:sldMk cId="1447752235" sldId="2147476167"/>
        </pc:sldMkLst>
      </pc:sldChg>
      <pc:sldChg chg="add del ord">
        <pc:chgData name="Raphaella ASHRAF" userId="5247841d-d595-4c30-b58a-9906097315c5" providerId="ADAL" clId="{49E1EDC4-949C-4C9A-9207-A653EB98B0DF}" dt="2024-11-19T09:17:18.019" v="4767" actId="47"/>
        <pc:sldMkLst>
          <pc:docMk/>
          <pc:sldMk cId="2394180831" sldId="2147476168"/>
        </pc:sldMkLst>
      </pc:sldChg>
      <pc:sldChg chg="add del ord">
        <pc:chgData name="Raphaella ASHRAF" userId="5247841d-d595-4c30-b58a-9906097315c5" providerId="ADAL" clId="{49E1EDC4-949C-4C9A-9207-A653EB98B0DF}" dt="2024-11-19T09:17:18.019" v="4767" actId="47"/>
        <pc:sldMkLst>
          <pc:docMk/>
          <pc:sldMk cId="2862826441" sldId="2147476169"/>
        </pc:sldMkLst>
      </pc:sldChg>
      <pc:sldChg chg="add del ord">
        <pc:chgData name="Raphaella ASHRAF" userId="5247841d-d595-4c30-b58a-9906097315c5" providerId="ADAL" clId="{49E1EDC4-949C-4C9A-9207-A653EB98B0DF}" dt="2024-11-19T09:17:18.019" v="4767" actId="47"/>
        <pc:sldMkLst>
          <pc:docMk/>
          <pc:sldMk cId="2025421356" sldId="2147476170"/>
        </pc:sldMkLst>
      </pc:sldChg>
      <pc:sldChg chg="add del ord">
        <pc:chgData name="Raphaella ASHRAF" userId="5247841d-d595-4c30-b58a-9906097315c5" providerId="ADAL" clId="{49E1EDC4-949C-4C9A-9207-A653EB98B0DF}" dt="2024-11-19T09:17:18.019" v="4767" actId="47"/>
        <pc:sldMkLst>
          <pc:docMk/>
          <pc:sldMk cId="815142763" sldId="2147476171"/>
        </pc:sldMkLst>
      </pc:sldChg>
      <pc:sldChg chg="add del ord">
        <pc:chgData name="Raphaella ASHRAF" userId="5247841d-d595-4c30-b58a-9906097315c5" providerId="ADAL" clId="{49E1EDC4-949C-4C9A-9207-A653EB98B0DF}" dt="2024-11-19T09:17:18.019" v="4767" actId="47"/>
        <pc:sldMkLst>
          <pc:docMk/>
          <pc:sldMk cId="2130330348" sldId="2147476172"/>
        </pc:sldMkLst>
      </pc:sldChg>
      <pc:sldChg chg="add del ord">
        <pc:chgData name="Raphaella ASHRAF" userId="5247841d-d595-4c30-b58a-9906097315c5" providerId="ADAL" clId="{49E1EDC4-949C-4C9A-9207-A653EB98B0DF}" dt="2024-11-19T09:17:18.019" v="4767" actId="47"/>
        <pc:sldMkLst>
          <pc:docMk/>
          <pc:sldMk cId="1413721359" sldId="2147476173"/>
        </pc:sldMkLst>
      </pc:sldChg>
      <pc:sldChg chg="add del ord">
        <pc:chgData name="Raphaella ASHRAF" userId="5247841d-d595-4c30-b58a-9906097315c5" providerId="ADAL" clId="{49E1EDC4-949C-4C9A-9207-A653EB98B0DF}" dt="2024-11-19T09:17:18.019" v="4767" actId="47"/>
        <pc:sldMkLst>
          <pc:docMk/>
          <pc:sldMk cId="1659335915" sldId="2147476174"/>
        </pc:sldMkLst>
      </pc:sldChg>
      <pc:sldChg chg="add del ord">
        <pc:chgData name="Raphaella ASHRAF" userId="5247841d-d595-4c30-b58a-9906097315c5" providerId="ADAL" clId="{49E1EDC4-949C-4C9A-9207-A653EB98B0DF}" dt="2024-11-19T09:17:18.019" v="4767" actId="47"/>
        <pc:sldMkLst>
          <pc:docMk/>
          <pc:sldMk cId="1196154728" sldId="2147476175"/>
        </pc:sldMkLst>
      </pc:sldChg>
      <pc:sldChg chg="add del ord">
        <pc:chgData name="Raphaella ASHRAF" userId="5247841d-d595-4c30-b58a-9906097315c5" providerId="ADAL" clId="{49E1EDC4-949C-4C9A-9207-A653EB98B0DF}" dt="2024-11-19T09:17:18.019" v="4767" actId="47"/>
        <pc:sldMkLst>
          <pc:docMk/>
          <pc:sldMk cId="603998230" sldId="2147476176"/>
        </pc:sldMkLst>
      </pc:sldChg>
      <pc:sldChg chg="add del ord">
        <pc:chgData name="Raphaella ASHRAF" userId="5247841d-d595-4c30-b58a-9906097315c5" providerId="ADAL" clId="{49E1EDC4-949C-4C9A-9207-A653EB98B0DF}" dt="2024-11-19T09:17:18.019" v="4767" actId="47"/>
        <pc:sldMkLst>
          <pc:docMk/>
          <pc:sldMk cId="1163862249" sldId="2147476177"/>
        </pc:sldMkLst>
      </pc:sldChg>
      <pc:sldChg chg="add del ord">
        <pc:chgData name="Raphaella ASHRAF" userId="5247841d-d595-4c30-b58a-9906097315c5" providerId="ADAL" clId="{49E1EDC4-949C-4C9A-9207-A653EB98B0DF}" dt="2024-11-19T09:17:18.019" v="4767" actId="47"/>
        <pc:sldMkLst>
          <pc:docMk/>
          <pc:sldMk cId="1671151043" sldId="2147476178"/>
        </pc:sldMkLst>
      </pc:sldChg>
      <pc:sldChg chg="add del ord">
        <pc:chgData name="Raphaella ASHRAF" userId="5247841d-d595-4c30-b58a-9906097315c5" providerId="ADAL" clId="{49E1EDC4-949C-4C9A-9207-A653EB98B0DF}" dt="2024-11-19T09:17:18.019" v="4767" actId="47"/>
        <pc:sldMkLst>
          <pc:docMk/>
          <pc:sldMk cId="2206074661" sldId="2147476179"/>
        </pc:sldMkLst>
      </pc:sldChg>
      <pc:sldChg chg="add del ord">
        <pc:chgData name="Raphaella ASHRAF" userId="5247841d-d595-4c30-b58a-9906097315c5" providerId="ADAL" clId="{49E1EDC4-949C-4C9A-9207-A653EB98B0DF}" dt="2024-11-19T09:17:18.019" v="4767" actId="47"/>
        <pc:sldMkLst>
          <pc:docMk/>
          <pc:sldMk cId="2458801318" sldId="2147476180"/>
        </pc:sldMkLst>
      </pc:sldChg>
      <pc:sldChg chg="add del ord">
        <pc:chgData name="Raphaella ASHRAF" userId="5247841d-d595-4c30-b58a-9906097315c5" providerId="ADAL" clId="{49E1EDC4-949C-4C9A-9207-A653EB98B0DF}" dt="2024-11-19T09:17:18.019" v="4767" actId="47"/>
        <pc:sldMkLst>
          <pc:docMk/>
          <pc:sldMk cId="3772306401" sldId="2147476181"/>
        </pc:sldMkLst>
      </pc:sldChg>
      <pc:sldChg chg="add del ord">
        <pc:chgData name="Raphaella ASHRAF" userId="5247841d-d595-4c30-b58a-9906097315c5" providerId="ADAL" clId="{49E1EDC4-949C-4C9A-9207-A653EB98B0DF}" dt="2024-11-19T09:17:18.019" v="4767" actId="47"/>
        <pc:sldMkLst>
          <pc:docMk/>
          <pc:sldMk cId="2173081003" sldId="2147476182"/>
        </pc:sldMkLst>
      </pc:sldChg>
      <pc:sldChg chg="add del ord">
        <pc:chgData name="Raphaella ASHRAF" userId="5247841d-d595-4c30-b58a-9906097315c5" providerId="ADAL" clId="{49E1EDC4-949C-4C9A-9207-A653EB98B0DF}" dt="2024-11-19T09:17:18.019" v="4767" actId="47"/>
        <pc:sldMkLst>
          <pc:docMk/>
          <pc:sldMk cId="2215022636" sldId="2147476183"/>
        </pc:sldMkLst>
      </pc:sldChg>
      <pc:sldChg chg="add del ord">
        <pc:chgData name="Raphaella ASHRAF" userId="5247841d-d595-4c30-b58a-9906097315c5" providerId="ADAL" clId="{49E1EDC4-949C-4C9A-9207-A653EB98B0DF}" dt="2024-11-19T09:17:18.019" v="4767" actId="47"/>
        <pc:sldMkLst>
          <pc:docMk/>
          <pc:sldMk cId="3394055284" sldId="2147476184"/>
        </pc:sldMkLst>
      </pc:sldChg>
      <pc:sldChg chg="add del ord">
        <pc:chgData name="Raphaella ASHRAF" userId="5247841d-d595-4c30-b58a-9906097315c5" providerId="ADAL" clId="{49E1EDC4-949C-4C9A-9207-A653EB98B0DF}" dt="2024-11-19T09:17:18.019" v="4767" actId="47"/>
        <pc:sldMkLst>
          <pc:docMk/>
          <pc:sldMk cId="1494583771" sldId="2147476185"/>
        </pc:sldMkLst>
      </pc:sldChg>
      <pc:sldChg chg="add del ord">
        <pc:chgData name="Raphaella ASHRAF" userId="5247841d-d595-4c30-b58a-9906097315c5" providerId="ADAL" clId="{49E1EDC4-949C-4C9A-9207-A653EB98B0DF}" dt="2024-11-19T09:17:18.019" v="4767" actId="47"/>
        <pc:sldMkLst>
          <pc:docMk/>
          <pc:sldMk cId="895250256" sldId="2147476186"/>
        </pc:sldMkLst>
      </pc:sldChg>
      <pc:sldChg chg="add del ord">
        <pc:chgData name="Raphaella ASHRAF" userId="5247841d-d595-4c30-b58a-9906097315c5" providerId="ADAL" clId="{49E1EDC4-949C-4C9A-9207-A653EB98B0DF}" dt="2024-11-19T09:17:18.019" v="4767" actId="47"/>
        <pc:sldMkLst>
          <pc:docMk/>
          <pc:sldMk cId="2940203375" sldId="2147476187"/>
        </pc:sldMkLst>
      </pc:sldChg>
      <pc:sldChg chg="add del ord">
        <pc:chgData name="Raphaella ASHRAF" userId="5247841d-d595-4c30-b58a-9906097315c5" providerId="ADAL" clId="{49E1EDC4-949C-4C9A-9207-A653EB98B0DF}" dt="2024-11-19T09:17:18.019" v="4767" actId="47"/>
        <pc:sldMkLst>
          <pc:docMk/>
          <pc:sldMk cId="383346485" sldId="2147476188"/>
        </pc:sldMkLst>
      </pc:sldChg>
      <pc:sldChg chg="add del ord">
        <pc:chgData name="Raphaella ASHRAF" userId="5247841d-d595-4c30-b58a-9906097315c5" providerId="ADAL" clId="{49E1EDC4-949C-4C9A-9207-A653EB98B0DF}" dt="2024-11-19T09:17:18.019" v="4767" actId="47"/>
        <pc:sldMkLst>
          <pc:docMk/>
          <pc:sldMk cId="441253009" sldId="2147476189"/>
        </pc:sldMkLst>
      </pc:sldChg>
      <pc:sldChg chg="add del ord">
        <pc:chgData name="Raphaella ASHRAF" userId="5247841d-d595-4c30-b58a-9906097315c5" providerId="ADAL" clId="{49E1EDC4-949C-4C9A-9207-A653EB98B0DF}" dt="2024-11-19T09:17:18.019" v="4767" actId="47"/>
        <pc:sldMkLst>
          <pc:docMk/>
          <pc:sldMk cId="1905661422" sldId="2147476190"/>
        </pc:sldMkLst>
      </pc:sldChg>
      <pc:sldChg chg="add del ord">
        <pc:chgData name="Raphaella ASHRAF" userId="5247841d-d595-4c30-b58a-9906097315c5" providerId="ADAL" clId="{49E1EDC4-949C-4C9A-9207-A653EB98B0DF}" dt="2024-11-19T09:17:18.019" v="4767" actId="47"/>
        <pc:sldMkLst>
          <pc:docMk/>
          <pc:sldMk cId="2748385394" sldId="2147476191"/>
        </pc:sldMkLst>
      </pc:sldChg>
      <pc:sldChg chg="add del ord">
        <pc:chgData name="Raphaella ASHRAF" userId="5247841d-d595-4c30-b58a-9906097315c5" providerId="ADAL" clId="{49E1EDC4-949C-4C9A-9207-A653EB98B0DF}" dt="2024-11-19T09:17:18.019" v="4767" actId="47"/>
        <pc:sldMkLst>
          <pc:docMk/>
          <pc:sldMk cId="2551621481" sldId="2147476192"/>
        </pc:sldMkLst>
      </pc:sldChg>
      <pc:sldChg chg="add del ord">
        <pc:chgData name="Raphaella ASHRAF" userId="5247841d-d595-4c30-b58a-9906097315c5" providerId="ADAL" clId="{49E1EDC4-949C-4C9A-9207-A653EB98B0DF}" dt="2024-11-19T09:17:18.019" v="4767" actId="47"/>
        <pc:sldMkLst>
          <pc:docMk/>
          <pc:sldMk cId="3667647283" sldId="2147476193"/>
        </pc:sldMkLst>
      </pc:sldChg>
      <pc:sldChg chg="add del ord">
        <pc:chgData name="Raphaella ASHRAF" userId="5247841d-d595-4c30-b58a-9906097315c5" providerId="ADAL" clId="{49E1EDC4-949C-4C9A-9207-A653EB98B0DF}" dt="2024-11-19T09:17:18.019" v="4767" actId="47"/>
        <pc:sldMkLst>
          <pc:docMk/>
          <pc:sldMk cId="1243310130" sldId="2147476194"/>
        </pc:sldMkLst>
      </pc:sldChg>
      <pc:sldChg chg="add del ord">
        <pc:chgData name="Raphaella ASHRAF" userId="5247841d-d595-4c30-b58a-9906097315c5" providerId="ADAL" clId="{49E1EDC4-949C-4C9A-9207-A653EB98B0DF}" dt="2024-11-19T09:17:18.019" v="4767" actId="47"/>
        <pc:sldMkLst>
          <pc:docMk/>
          <pc:sldMk cId="3847959120" sldId="2147476195"/>
        </pc:sldMkLst>
      </pc:sldChg>
      <pc:sldChg chg="add del ord">
        <pc:chgData name="Raphaella ASHRAF" userId="5247841d-d595-4c30-b58a-9906097315c5" providerId="ADAL" clId="{49E1EDC4-949C-4C9A-9207-A653EB98B0DF}" dt="2024-11-19T09:17:18.019" v="4767" actId="47"/>
        <pc:sldMkLst>
          <pc:docMk/>
          <pc:sldMk cId="1794222981" sldId="2147476196"/>
        </pc:sldMkLst>
      </pc:sldChg>
      <pc:sldChg chg="add del ord">
        <pc:chgData name="Raphaella ASHRAF" userId="5247841d-d595-4c30-b58a-9906097315c5" providerId="ADAL" clId="{49E1EDC4-949C-4C9A-9207-A653EB98B0DF}" dt="2024-11-19T09:17:18.019" v="4767" actId="47"/>
        <pc:sldMkLst>
          <pc:docMk/>
          <pc:sldMk cId="3054236588" sldId="2147476197"/>
        </pc:sldMkLst>
      </pc:sldChg>
      <pc:sldChg chg="add del ord">
        <pc:chgData name="Raphaella ASHRAF" userId="5247841d-d595-4c30-b58a-9906097315c5" providerId="ADAL" clId="{49E1EDC4-949C-4C9A-9207-A653EB98B0DF}" dt="2024-11-19T09:17:18.019" v="4767" actId="47"/>
        <pc:sldMkLst>
          <pc:docMk/>
          <pc:sldMk cId="4123846016" sldId="2147476198"/>
        </pc:sldMkLst>
      </pc:sldChg>
      <pc:sldChg chg="add del ord">
        <pc:chgData name="Raphaella ASHRAF" userId="5247841d-d595-4c30-b58a-9906097315c5" providerId="ADAL" clId="{49E1EDC4-949C-4C9A-9207-A653EB98B0DF}" dt="2024-11-19T09:17:18.019" v="4767" actId="47"/>
        <pc:sldMkLst>
          <pc:docMk/>
          <pc:sldMk cId="3901911978" sldId="2147476199"/>
        </pc:sldMkLst>
      </pc:sldChg>
      <pc:sldChg chg="add del ord">
        <pc:chgData name="Raphaella ASHRAF" userId="5247841d-d595-4c30-b58a-9906097315c5" providerId="ADAL" clId="{49E1EDC4-949C-4C9A-9207-A653EB98B0DF}" dt="2024-11-19T09:17:18.019" v="4767" actId="47"/>
        <pc:sldMkLst>
          <pc:docMk/>
          <pc:sldMk cId="3347604753" sldId="2147476200"/>
        </pc:sldMkLst>
      </pc:sldChg>
      <pc:sldChg chg="add del ord">
        <pc:chgData name="Raphaella ASHRAF" userId="5247841d-d595-4c30-b58a-9906097315c5" providerId="ADAL" clId="{49E1EDC4-949C-4C9A-9207-A653EB98B0DF}" dt="2024-11-19T09:17:18.019" v="4767" actId="47"/>
        <pc:sldMkLst>
          <pc:docMk/>
          <pc:sldMk cId="3444159209" sldId="2147476201"/>
        </pc:sldMkLst>
      </pc:sldChg>
      <pc:sldChg chg="add del ord">
        <pc:chgData name="Raphaella ASHRAF" userId="5247841d-d595-4c30-b58a-9906097315c5" providerId="ADAL" clId="{49E1EDC4-949C-4C9A-9207-A653EB98B0DF}" dt="2024-11-19T09:17:18.019" v="4767" actId="47"/>
        <pc:sldMkLst>
          <pc:docMk/>
          <pc:sldMk cId="3493903642" sldId="2147476202"/>
        </pc:sldMkLst>
      </pc:sldChg>
      <pc:sldChg chg="add del ord">
        <pc:chgData name="Raphaella ASHRAF" userId="5247841d-d595-4c30-b58a-9906097315c5" providerId="ADAL" clId="{49E1EDC4-949C-4C9A-9207-A653EB98B0DF}" dt="2024-11-19T09:17:18.019" v="4767" actId="47"/>
        <pc:sldMkLst>
          <pc:docMk/>
          <pc:sldMk cId="150607471" sldId="2147476203"/>
        </pc:sldMkLst>
      </pc:sldChg>
      <pc:sldChg chg="add del ord">
        <pc:chgData name="Raphaella ASHRAF" userId="5247841d-d595-4c30-b58a-9906097315c5" providerId="ADAL" clId="{49E1EDC4-949C-4C9A-9207-A653EB98B0DF}" dt="2024-11-19T09:17:18.019" v="4767" actId="47"/>
        <pc:sldMkLst>
          <pc:docMk/>
          <pc:sldMk cId="2840968679" sldId="2147476204"/>
        </pc:sldMkLst>
      </pc:sldChg>
      <pc:sldChg chg="add del ord">
        <pc:chgData name="Raphaella ASHRAF" userId="5247841d-d595-4c30-b58a-9906097315c5" providerId="ADAL" clId="{49E1EDC4-949C-4C9A-9207-A653EB98B0DF}" dt="2024-11-19T09:17:18.019" v="4767" actId="47"/>
        <pc:sldMkLst>
          <pc:docMk/>
          <pc:sldMk cId="2370495549" sldId="2147476205"/>
        </pc:sldMkLst>
      </pc:sldChg>
      <pc:sldChg chg="add del ord">
        <pc:chgData name="Raphaella ASHRAF" userId="5247841d-d595-4c30-b58a-9906097315c5" providerId="ADAL" clId="{49E1EDC4-949C-4C9A-9207-A653EB98B0DF}" dt="2024-11-19T09:17:18.019" v="4767" actId="47"/>
        <pc:sldMkLst>
          <pc:docMk/>
          <pc:sldMk cId="3873279312" sldId="2147476206"/>
        </pc:sldMkLst>
      </pc:sldChg>
      <pc:sldChg chg="add del ord">
        <pc:chgData name="Raphaella ASHRAF" userId="5247841d-d595-4c30-b58a-9906097315c5" providerId="ADAL" clId="{49E1EDC4-949C-4C9A-9207-A653EB98B0DF}" dt="2024-11-19T09:17:18.019" v="4767" actId="47"/>
        <pc:sldMkLst>
          <pc:docMk/>
          <pc:sldMk cId="2211966513" sldId="2147476207"/>
        </pc:sldMkLst>
      </pc:sldChg>
      <pc:sldChg chg="add del ord">
        <pc:chgData name="Raphaella ASHRAF" userId="5247841d-d595-4c30-b58a-9906097315c5" providerId="ADAL" clId="{49E1EDC4-949C-4C9A-9207-A653EB98B0DF}" dt="2024-11-19T09:17:18.019" v="4767" actId="47"/>
        <pc:sldMkLst>
          <pc:docMk/>
          <pc:sldMk cId="964694493" sldId="2147476208"/>
        </pc:sldMkLst>
      </pc:sldChg>
      <pc:sldChg chg="add del ord">
        <pc:chgData name="Raphaella ASHRAF" userId="5247841d-d595-4c30-b58a-9906097315c5" providerId="ADAL" clId="{49E1EDC4-949C-4C9A-9207-A653EB98B0DF}" dt="2024-11-19T09:17:18.019" v="4767" actId="47"/>
        <pc:sldMkLst>
          <pc:docMk/>
          <pc:sldMk cId="4288032181" sldId="2147476209"/>
        </pc:sldMkLst>
      </pc:sldChg>
      <pc:sldChg chg="add del ord">
        <pc:chgData name="Raphaella ASHRAF" userId="5247841d-d595-4c30-b58a-9906097315c5" providerId="ADAL" clId="{49E1EDC4-949C-4C9A-9207-A653EB98B0DF}" dt="2024-11-19T09:17:18.019" v="4767" actId="47"/>
        <pc:sldMkLst>
          <pc:docMk/>
          <pc:sldMk cId="3727614940" sldId="2147476210"/>
        </pc:sldMkLst>
      </pc:sldChg>
      <pc:sldChg chg="add del ord">
        <pc:chgData name="Raphaella ASHRAF" userId="5247841d-d595-4c30-b58a-9906097315c5" providerId="ADAL" clId="{49E1EDC4-949C-4C9A-9207-A653EB98B0DF}" dt="2024-11-19T09:17:18.019" v="4767" actId="47"/>
        <pc:sldMkLst>
          <pc:docMk/>
          <pc:sldMk cId="320889762" sldId="2147476211"/>
        </pc:sldMkLst>
      </pc:sldChg>
      <pc:sldChg chg="add del ord">
        <pc:chgData name="Raphaella ASHRAF" userId="5247841d-d595-4c30-b58a-9906097315c5" providerId="ADAL" clId="{49E1EDC4-949C-4C9A-9207-A653EB98B0DF}" dt="2024-11-19T09:17:18.019" v="4767" actId="47"/>
        <pc:sldMkLst>
          <pc:docMk/>
          <pc:sldMk cId="1135684669" sldId="2147476212"/>
        </pc:sldMkLst>
      </pc:sldChg>
      <pc:sldChg chg="add del ord">
        <pc:chgData name="Raphaella ASHRAF" userId="5247841d-d595-4c30-b58a-9906097315c5" providerId="ADAL" clId="{49E1EDC4-949C-4C9A-9207-A653EB98B0DF}" dt="2024-11-19T09:17:18.019" v="4767" actId="47"/>
        <pc:sldMkLst>
          <pc:docMk/>
          <pc:sldMk cId="2426998561" sldId="2147476213"/>
        </pc:sldMkLst>
      </pc:sldChg>
      <pc:sldChg chg="add del ord">
        <pc:chgData name="Raphaella ASHRAF" userId="5247841d-d595-4c30-b58a-9906097315c5" providerId="ADAL" clId="{49E1EDC4-949C-4C9A-9207-A653EB98B0DF}" dt="2024-11-19T09:17:18.019" v="4767" actId="47"/>
        <pc:sldMkLst>
          <pc:docMk/>
          <pc:sldMk cId="872451154" sldId="2147476214"/>
        </pc:sldMkLst>
      </pc:sldChg>
      <pc:sldChg chg="add del ord">
        <pc:chgData name="Raphaella ASHRAF" userId="5247841d-d595-4c30-b58a-9906097315c5" providerId="ADAL" clId="{49E1EDC4-949C-4C9A-9207-A653EB98B0DF}" dt="2024-11-19T09:17:18.019" v="4767" actId="47"/>
        <pc:sldMkLst>
          <pc:docMk/>
          <pc:sldMk cId="4060929412" sldId="2147476215"/>
        </pc:sldMkLst>
      </pc:sldChg>
      <pc:sldChg chg="add del ord">
        <pc:chgData name="Raphaella ASHRAF" userId="5247841d-d595-4c30-b58a-9906097315c5" providerId="ADAL" clId="{49E1EDC4-949C-4C9A-9207-A653EB98B0DF}" dt="2024-11-19T09:17:18.019" v="4767" actId="47"/>
        <pc:sldMkLst>
          <pc:docMk/>
          <pc:sldMk cId="2821935568" sldId="2147476216"/>
        </pc:sldMkLst>
      </pc:sldChg>
      <pc:sldChg chg="add del ord">
        <pc:chgData name="Raphaella ASHRAF" userId="5247841d-d595-4c30-b58a-9906097315c5" providerId="ADAL" clId="{49E1EDC4-949C-4C9A-9207-A653EB98B0DF}" dt="2024-11-19T09:17:18.019" v="4767" actId="47"/>
        <pc:sldMkLst>
          <pc:docMk/>
          <pc:sldMk cId="3627783647" sldId="2147476217"/>
        </pc:sldMkLst>
      </pc:sldChg>
      <pc:sldChg chg="add del ord">
        <pc:chgData name="Raphaella ASHRAF" userId="5247841d-d595-4c30-b58a-9906097315c5" providerId="ADAL" clId="{49E1EDC4-949C-4C9A-9207-A653EB98B0DF}" dt="2024-11-19T09:17:18.019" v="4767" actId="47"/>
        <pc:sldMkLst>
          <pc:docMk/>
          <pc:sldMk cId="2231422242" sldId="2147476218"/>
        </pc:sldMkLst>
      </pc:sldChg>
      <pc:sldChg chg="add del ord">
        <pc:chgData name="Raphaella ASHRAF" userId="5247841d-d595-4c30-b58a-9906097315c5" providerId="ADAL" clId="{49E1EDC4-949C-4C9A-9207-A653EB98B0DF}" dt="2024-11-19T09:17:18.019" v="4767" actId="47"/>
        <pc:sldMkLst>
          <pc:docMk/>
          <pc:sldMk cId="3530914222" sldId="2147476219"/>
        </pc:sldMkLst>
      </pc:sldChg>
      <pc:sldChg chg="add del ord">
        <pc:chgData name="Raphaella ASHRAF" userId="5247841d-d595-4c30-b58a-9906097315c5" providerId="ADAL" clId="{49E1EDC4-949C-4C9A-9207-A653EB98B0DF}" dt="2024-11-19T09:17:18.019" v="4767" actId="47"/>
        <pc:sldMkLst>
          <pc:docMk/>
          <pc:sldMk cId="2992665301" sldId="2147476220"/>
        </pc:sldMkLst>
      </pc:sldChg>
      <pc:sldChg chg="add del ord">
        <pc:chgData name="Raphaella ASHRAF" userId="5247841d-d595-4c30-b58a-9906097315c5" providerId="ADAL" clId="{49E1EDC4-949C-4C9A-9207-A653EB98B0DF}" dt="2024-11-19T09:17:18.019" v="4767" actId="47"/>
        <pc:sldMkLst>
          <pc:docMk/>
          <pc:sldMk cId="675307555" sldId="2147476221"/>
        </pc:sldMkLst>
      </pc:sldChg>
      <pc:sldChg chg="add del ord">
        <pc:chgData name="Raphaella ASHRAF" userId="5247841d-d595-4c30-b58a-9906097315c5" providerId="ADAL" clId="{49E1EDC4-949C-4C9A-9207-A653EB98B0DF}" dt="2024-11-19T09:17:18.019" v="4767" actId="47"/>
        <pc:sldMkLst>
          <pc:docMk/>
          <pc:sldMk cId="1119552569" sldId="2147476222"/>
        </pc:sldMkLst>
      </pc:sldChg>
      <pc:sldChg chg="add del ord">
        <pc:chgData name="Raphaella ASHRAF" userId="5247841d-d595-4c30-b58a-9906097315c5" providerId="ADAL" clId="{49E1EDC4-949C-4C9A-9207-A653EB98B0DF}" dt="2024-11-19T09:17:18.019" v="4767" actId="47"/>
        <pc:sldMkLst>
          <pc:docMk/>
          <pc:sldMk cId="1736552913" sldId="2147476223"/>
        </pc:sldMkLst>
      </pc:sldChg>
      <pc:sldChg chg="add del ord">
        <pc:chgData name="Raphaella ASHRAF" userId="5247841d-d595-4c30-b58a-9906097315c5" providerId="ADAL" clId="{49E1EDC4-949C-4C9A-9207-A653EB98B0DF}" dt="2024-11-19T09:17:18.019" v="4767" actId="47"/>
        <pc:sldMkLst>
          <pc:docMk/>
          <pc:sldMk cId="951948362" sldId="2147476224"/>
        </pc:sldMkLst>
      </pc:sldChg>
      <pc:sldChg chg="add del ord">
        <pc:chgData name="Raphaella ASHRAF" userId="5247841d-d595-4c30-b58a-9906097315c5" providerId="ADAL" clId="{49E1EDC4-949C-4C9A-9207-A653EB98B0DF}" dt="2024-11-19T09:17:18.019" v="4767" actId="47"/>
        <pc:sldMkLst>
          <pc:docMk/>
          <pc:sldMk cId="1040357119" sldId="2147476225"/>
        </pc:sldMkLst>
      </pc:sldChg>
      <pc:sldChg chg="add del ord">
        <pc:chgData name="Raphaella ASHRAF" userId="5247841d-d595-4c30-b58a-9906097315c5" providerId="ADAL" clId="{49E1EDC4-949C-4C9A-9207-A653EB98B0DF}" dt="2024-11-19T09:17:18.019" v="4767" actId="47"/>
        <pc:sldMkLst>
          <pc:docMk/>
          <pc:sldMk cId="555215765" sldId="2147476226"/>
        </pc:sldMkLst>
      </pc:sldChg>
      <pc:sldChg chg="add del ord">
        <pc:chgData name="Raphaella ASHRAF" userId="5247841d-d595-4c30-b58a-9906097315c5" providerId="ADAL" clId="{49E1EDC4-949C-4C9A-9207-A653EB98B0DF}" dt="2024-11-19T09:17:18.019" v="4767" actId="47"/>
        <pc:sldMkLst>
          <pc:docMk/>
          <pc:sldMk cId="3010500928" sldId="2147476227"/>
        </pc:sldMkLst>
      </pc:sldChg>
      <pc:sldChg chg="add del ord">
        <pc:chgData name="Raphaella ASHRAF" userId="5247841d-d595-4c30-b58a-9906097315c5" providerId="ADAL" clId="{49E1EDC4-949C-4C9A-9207-A653EB98B0DF}" dt="2024-11-19T09:17:18.019" v="4767" actId="47"/>
        <pc:sldMkLst>
          <pc:docMk/>
          <pc:sldMk cId="605626643" sldId="2147476228"/>
        </pc:sldMkLst>
      </pc:sldChg>
      <pc:sldChg chg="add del ord">
        <pc:chgData name="Raphaella ASHRAF" userId="5247841d-d595-4c30-b58a-9906097315c5" providerId="ADAL" clId="{49E1EDC4-949C-4C9A-9207-A653EB98B0DF}" dt="2024-11-19T09:17:18.019" v="4767" actId="47"/>
        <pc:sldMkLst>
          <pc:docMk/>
          <pc:sldMk cId="2599346172" sldId="2147476229"/>
        </pc:sldMkLst>
      </pc:sldChg>
      <pc:sldChg chg="add del ord">
        <pc:chgData name="Raphaella ASHRAF" userId="5247841d-d595-4c30-b58a-9906097315c5" providerId="ADAL" clId="{49E1EDC4-949C-4C9A-9207-A653EB98B0DF}" dt="2024-11-19T09:17:18.019" v="4767" actId="47"/>
        <pc:sldMkLst>
          <pc:docMk/>
          <pc:sldMk cId="1348262683" sldId="2147476230"/>
        </pc:sldMkLst>
      </pc:sldChg>
      <pc:sldChg chg="add del ord">
        <pc:chgData name="Raphaella ASHRAF" userId="5247841d-d595-4c30-b58a-9906097315c5" providerId="ADAL" clId="{49E1EDC4-949C-4C9A-9207-A653EB98B0DF}" dt="2024-11-19T09:17:18.019" v="4767" actId="47"/>
        <pc:sldMkLst>
          <pc:docMk/>
          <pc:sldMk cId="2666021650" sldId="2147476231"/>
        </pc:sldMkLst>
      </pc:sldChg>
      <pc:sldChg chg="add del ord">
        <pc:chgData name="Raphaella ASHRAF" userId="5247841d-d595-4c30-b58a-9906097315c5" providerId="ADAL" clId="{49E1EDC4-949C-4C9A-9207-A653EB98B0DF}" dt="2024-11-19T09:17:18.019" v="4767" actId="47"/>
        <pc:sldMkLst>
          <pc:docMk/>
          <pc:sldMk cId="3623227668" sldId="2147476232"/>
        </pc:sldMkLst>
      </pc:sldChg>
      <pc:sldChg chg="add del ord">
        <pc:chgData name="Raphaella ASHRAF" userId="5247841d-d595-4c30-b58a-9906097315c5" providerId="ADAL" clId="{49E1EDC4-949C-4C9A-9207-A653EB98B0DF}" dt="2024-11-19T09:17:18.019" v="4767" actId="47"/>
        <pc:sldMkLst>
          <pc:docMk/>
          <pc:sldMk cId="110409612" sldId="2147476233"/>
        </pc:sldMkLst>
      </pc:sldChg>
      <pc:sldChg chg="add del ord">
        <pc:chgData name="Raphaella ASHRAF" userId="5247841d-d595-4c30-b58a-9906097315c5" providerId="ADAL" clId="{49E1EDC4-949C-4C9A-9207-A653EB98B0DF}" dt="2024-11-19T09:17:18.019" v="4767" actId="47"/>
        <pc:sldMkLst>
          <pc:docMk/>
          <pc:sldMk cId="1982554454" sldId="2147476234"/>
        </pc:sldMkLst>
      </pc:sldChg>
      <pc:sldChg chg="add del ord">
        <pc:chgData name="Raphaella ASHRAF" userId="5247841d-d595-4c30-b58a-9906097315c5" providerId="ADAL" clId="{49E1EDC4-949C-4C9A-9207-A653EB98B0DF}" dt="2024-11-19T09:17:18.019" v="4767" actId="47"/>
        <pc:sldMkLst>
          <pc:docMk/>
          <pc:sldMk cId="2757092184" sldId="2147476235"/>
        </pc:sldMkLst>
      </pc:sldChg>
      <pc:sldChg chg="add del ord">
        <pc:chgData name="Raphaella ASHRAF" userId="5247841d-d595-4c30-b58a-9906097315c5" providerId="ADAL" clId="{49E1EDC4-949C-4C9A-9207-A653EB98B0DF}" dt="2024-11-19T09:17:18.019" v="4767" actId="47"/>
        <pc:sldMkLst>
          <pc:docMk/>
          <pc:sldMk cId="2844022032" sldId="2147476236"/>
        </pc:sldMkLst>
      </pc:sldChg>
      <pc:sldChg chg="add del ord">
        <pc:chgData name="Raphaella ASHRAF" userId="5247841d-d595-4c30-b58a-9906097315c5" providerId="ADAL" clId="{49E1EDC4-949C-4C9A-9207-A653EB98B0DF}" dt="2024-11-19T09:17:18.019" v="4767" actId="47"/>
        <pc:sldMkLst>
          <pc:docMk/>
          <pc:sldMk cId="467037668" sldId="2147476237"/>
        </pc:sldMkLst>
      </pc:sldChg>
      <pc:sldChg chg="add del ord">
        <pc:chgData name="Raphaella ASHRAF" userId="5247841d-d595-4c30-b58a-9906097315c5" providerId="ADAL" clId="{49E1EDC4-949C-4C9A-9207-A653EB98B0DF}" dt="2024-11-19T09:17:18.019" v="4767" actId="47"/>
        <pc:sldMkLst>
          <pc:docMk/>
          <pc:sldMk cId="588677996" sldId="2147476238"/>
        </pc:sldMkLst>
      </pc:sldChg>
      <pc:sldChg chg="add del ord">
        <pc:chgData name="Raphaella ASHRAF" userId="5247841d-d595-4c30-b58a-9906097315c5" providerId="ADAL" clId="{49E1EDC4-949C-4C9A-9207-A653EB98B0DF}" dt="2024-11-19T09:17:18.019" v="4767" actId="47"/>
        <pc:sldMkLst>
          <pc:docMk/>
          <pc:sldMk cId="2316430319" sldId="2147476239"/>
        </pc:sldMkLst>
      </pc:sldChg>
      <pc:sldChg chg="add del ord">
        <pc:chgData name="Raphaella ASHRAF" userId="5247841d-d595-4c30-b58a-9906097315c5" providerId="ADAL" clId="{49E1EDC4-949C-4C9A-9207-A653EB98B0DF}" dt="2024-11-19T09:17:18.019" v="4767" actId="47"/>
        <pc:sldMkLst>
          <pc:docMk/>
          <pc:sldMk cId="3690567365" sldId="2147476240"/>
        </pc:sldMkLst>
      </pc:sldChg>
      <pc:sldChg chg="add del ord">
        <pc:chgData name="Raphaella ASHRAF" userId="5247841d-d595-4c30-b58a-9906097315c5" providerId="ADAL" clId="{49E1EDC4-949C-4C9A-9207-A653EB98B0DF}" dt="2024-11-19T09:17:18.019" v="4767" actId="47"/>
        <pc:sldMkLst>
          <pc:docMk/>
          <pc:sldMk cId="1065615249" sldId="2147476241"/>
        </pc:sldMkLst>
      </pc:sldChg>
      <pc:sldChg chg="add del ord">
        <pc:chgData name="Raphaella ASHRAF" userId="5247841d-d595-4c30-b58a-9906097315c5" providerId="ADAL" clId="{49E1EDC4-949C-4C9A-9207-A653EB98B0DF}" dt="2024-11-19T09:17:18.019" v="4767" actId="47"/>
        <pc:sldMkLst>
          <pc:docMk/>
          <pc:sldMk cId="1796859516" sldId="2147476242"/>
        </pc:sldMkLst>
      </pc:sldChg>
      <pc:sldChg chg="add del ord">
        <pc:chgData name="Raphaella ASHRAF" userId="5247841d-d595-4c30-b58a-9906097315c5" providerId="ADAL" clId="{49E1EDC4-949C-4C9A-9207-A653EB98B0DF}" dt="2024-11-19T09:17:18.019" v="4767" actId="47"/>
        <pc:sldMkLst>
          <pc:docMk/>
          <pc:sldMk cId="168164772" sldId="2147476243"/>
        </pc:sldMkLst>
      </pc:sldChg>
      <pc:sldChg chg="add del ord">
        <pc:chgData name="Raphaella ASHRAF" userId="5247841d-d595-4c30-b58a-9906097315c5" providerId="ADAL" clId="{49E1EDC4-949C-4C9A-9207-A653EB98B0DF}" dt="2024-11-19T09:17:18.019" v="4767" actId="47"/>
        <pc:sldMkLst>
          <pc:docMk/>
          <pc:sldMk cId="2025529599" sldId="2147476244"/>
        </pc:sldMkLst>
      </pc:sldChg>
      <pc:sldChg chg="add del ord">
        <pc:chgData name="Raphaella ASHRAF" userId="5247841d-d595-4c30-b58a-9906097315c5" providerId="ADAL" clId="{49E1EDC4-949C-4C9A-9207-A653EB98B0DF}" dt="2024-11-19T09:17:18.019" v="4767" actId="47"/>
        <pc:sldMkLst>
          <pc:docMk/>
          <pc:sldMk cId="2301966176" sldId="2147476245"/>
        </pc:sldMkLst>
      </pc:sldChg>
      <pc:sldChg chg="add del ord">
        <pc:chgData name="Raphaella ASHRAF" userId="5247841d-d595-4c30-b58a-9906097315c5" providerId="ADAL" clId="{49E1EDC4-949C-4C9A-9207-A653EB98B0DF}" dt="2024-11-19T09:17:18.019" v="4767" actId="47"/>
        <pc:sldMkLst>
          <pc:docMk/>
          <pc:sldMk cId="339530660" sldId="2147476246"/>
        </pc:sldMkLst>
      </pc:sldChg>
      <pc:sldChg chg="add del ord">
        <pc:chgData name="Raphaella ASHRAF" userId="5247841d-d595-4c30-b58a-9906097315c5" providerId="ADAL" clId="{49E1EDC4-949C-4C9A-9207-A653EB98B0DF}" dt="2024-11-19T09:17:18.019" v="4767" actId="47"/>
        <pc:sldMkLst>
          <pc:docMk/>
          <pc:sldMk cId="3555737404" sldId="2147476247"/>
        </pc:sldMkLst>
      </pc:sldChg>
      <pc:sldChg chg="add del ord">
        <pc:chgData name="Raphaella ASHRAF" userId="5247841d-d595-4c30-b58a-9906097315c5" providerId="ADAL" clId="{49E1EDC4-949C-4C9A-9207-A653EB98B0DF}" dt="2024-11-19T09:17:18.019" v="4767" actId="47"/>
        <pc:sldMkLst>
          <pc:docMk/>
          <pc:sldMk cId="1585216255" sldId="2147476248"/>
        </pc:sldMkLst>
      </pc:sldChg>
      <pc:sldChg chg="add del ord">
        <pc:chgData name="Raphaella ASHRAF" userId="5247841d-d595-4c30-b58a-9906097315c5" providerId="ADAL" clId="{49E1EDC4-949C-4C9A-9207-A653EB98B0DF}" dt="2024-11-19T09:17:18.019" v="4767" actId="47"/>
        <pc:sldMkLst>
          <pc:docMk/>
          <pc:sldMk cId="1405142737" sldId="2147476249"/>
        </pc:sldMkLst>
      </pc:sldChg>
      <pc:sldChg chg="add del ord">
        <pc:chgData name="Raphaella ASHRAF" userId="5247841d-d595-4c30-b58a-9906097315c5" providerId="ADAL" clId="{49E1EDC4-949C-4C9A-9207-A653EB98B0DF}" dt="2024-11-19T09:17:18.019" v="4767" actId="47"/>
        <pc:sldMkLst>
          <pc:docMk/>
          <pc:sldMk cId="2849438174" sldId="2147476250"/>
        </pc:sldMkLst>
      </pc:sldChg>
      <pc:sldChg chg="add del ord">
        <pc:chgData name="Raphaella ASHRAF" userId="5247841d-d595-4c30-b58a-9906097315c5" providerId="ADAL" clId="{49E1EDC4-949C-4C9A-9207-A653EB98B0DF}" dt="2024-11-19T09:17:18.019" v="4767" actId="47"/>
        <pc:sldMkLst>
          <pc:docMk/>
          <pc:sldMk cId="394607233" sldId="2147476251"/>
        </pc:sldMkLst>
      </pc:sldChg>
      <pc:sldChg chg="add del ord">
        <pc:chgData name="Raphaella ASHRAF" userId="5247841d-d595-4c30-b58a-9906097315c5" providerId="ADAL" clId="{49E1EDC4-949C-4C9A-9207-A653EB98B0DF}" dt="2024-11-19T09:17:18.019" v="4767" actId="47"/>
        <pc:sldMkLst>
          <pc:docMk/>
          <pc:sldMk cId="2224797048" sldId="2147476252"/>
        </pc:sldMkLst>
      </pc:sldChg>
      <pc:sldChg chg="add del ord">
        <pc:chgData name="Raphaella ASHRAF" userId="5247841d-d595-4c30-b58a-9906097315c5" providerId="ADAL" clId="{49E1EDC4-949C-4C9A-9207-A653EB98B0DF}" dt="2024-11-19T09:17:18.019" v="4767" actId="47"/>
        <pc:sldMkLst>
          <pc:docMk/>
          <pc:sldMk cId="504998479" sldId="2147476253"/>
        </pc:sldMkLst>
      </pc:sldChg>
      <pc:sldChg chg="add del ord">
        <pc:chgData name="Raphaella ASHRAF" userId="5247841d-d595-4c30-b58a-9906097315c5" providerId="ADAL" clId="{49E1EDC4-949C-4C9A-9207-A653EB98B0DF}" dt="2024-11-19T09:17:18.019" v="4767" actId="47"/>
        <pc:sldMkLst>
          <pc:docMk/>
          <pc:sldMk cId="1551007114" sldId="2147476254"/>
        </pc:sldMkLst>
      </pc:sldChg>
      <pc:sldChg chg="add del ord">
        <pc:chgData name="Raphaella ASHRAF" userId="5247841d-d595-4c30-b58a-9906097315c5" providerId="ADAL" clId="{49E1EDC4-949C-4C9A-9207-A653EB98B0DF}" dt="2024-11-19T09:17:18.019" v="4767" actId="47"/>
        <pc:sldMkLst>
          <pc:docMk/>
          <pc:sldMk cId="3617734641" sldId="2147476255"/>
        </pc:sldMkLst>
      </pc:sldChg>
      <pc:sldChg chg="add del ord">
        <pc:chgData name="Raphaella ASHRAF" userId="5247841d-d595-4c30-b58a-9906097315c5" providerId="ADAL" clId="{49E1EDC4-949C-4C9A-9207-A653EB98B0DF}" dt="2024-11-19T09:17:18.019" v="4767" actId="47"/>
        <pc:sldMkLst>
          <pc:docMk/>
          <pc:sldMk cId="2701576743" sldId="2147476256"/>
        </pc:sldMkLst>
      </pc:sldChg>
      <pc:sldChg chg="add del ord">
        <pc:chgData name="Raphaella ASHRAF" userId="5247841d-d595-4c30-b58a-9906097315c5" providerId="ADAL" clId="{49E1EDC4-949C-4C9A-9207-A653EB98B0DF}" dt="2024-11-19T09:17:18.019" v="4767" actId="47"/>
        <pc:sldMkLst>
          <pc:docMk/>
          <pc:sldMk cId="3286300533" sldId="2147476257"/>
        </pc:sldMkLst>
      </pc:sldChg>
      <pc:sldChg chg="add del ord">
        <pc:chgData name="Raphaella ASHRAF" userId="5247841d-d595-4c30-b58a-9906097315c5" providerId="ADAL" clId="{49E1EDC4-949C-4C9A-9207-A653EB98B0DF}" dt="2024-11-19T09:17:18.019" v="4767" actId="47"/>
        <pc:sldMkLst>
          <pc:docMk/>
          <pc:sldMk cId="2250475258" sldId="2147476258"/>
        </pc:sldMkLst>
      </pc:sldChg>
      <pc:sldChg chg="add del ord">
        <pc:chgData name="Raphaella ASHRAF" userId="5247841d-d595-4c30-b58a-9906097315c5" providerId="ADAL" clId="{49E1EDC4-949C-4C9A-9207-A653EB98B0DF}" dt="2024-11-19T09:17:18.019" v="4767" actId="47"/>
        <pc:sldMkLst>
          <pc:docMk/>
          <pc:sldMk cId="2867560846" sldId="2147476259"/>
        </pc:sldMkLst>
      </pc:sldChg>
      <pc:sldChg chg="add del ord">
        <pc:chgData name="Raphaella ASHRAF" userId="5247841d-d595-4c30-b58a-9906097315c5" providerId="ADAL" clId="{49E1EDC4-949C-4C9A-9207-A653EB98B0DF}" dt="2024-11-19T09:17:18.019" v="4767" actId="47"/>
        <pc:sldMkLst>
          <pc:docMk/>
          <pc:sldMk cId="2597393033" sldId="2147476260"/>
        </pc:sldMkLst>
      </pc:sldChg>
      <pc:sldChg chg="add del ord">
        <pc:chgData name="Raphaella ASHRAF" userId="5247841d-d595-4c30-b58a-9906097315c5" providerId="ADAL" clId="{49E1EDC4-949C-4C9A-9207-A653EB98B0DF}" dt="2024-11-19T09:17:18.019" v="4767" actId="47"/>
        <pc:sldMkLst>
          <pc:docMk/>
          <pc:sldMk cId="432467414" sldId="2147476261"/>
        </pc:sldMkLst>
      </pc:sldChg>
      <pc:sldChg chg="add del ord">
        <pc:chgData name="Raphaella ASHRAF" userId="5247841d-d595-4c30-b58a-9906097315c5" providerId="ADAL" clId="{49E1EDC4-949C-4C9A-9207-A653EB98B0DF}" dt="2024-11-19T09:17:18.019" v="4767" actId="47"/>
        <pc:sldMkLst>
          <pc:docMk/>
          <pc:sldMk cId="3532219899" sldId="2147476262"/>
        </pc:sldMkLst>
      </pc:sldChg>
      <pc:sldChg chg="add del ord">
        <pc:chgData name="Raphaella ASHRAF" userId="5247841d-d595-4c30-b58a-9906097315c5" providerId="ADAL" clId="{49E1EDC4-949C-4C9A-9207-A653EB98B0DF}" dt="2024-11-19T09:17:18.019" v="4767" actId="47"/>
        <pc:sldMkLst>
          <pc:docMk/>
          <pc:sldMk cId="3036455668" sldId="2147476263"/>
        </pc:sldMkLst>
      </pc:sldChg>
      <pc:sldChg chg="add del ord">
        <pc:chgData name="Raphaella ASHRAF" userId="5247841d-d595-4c30-b58a-9906097315c5" providerId="ADAL" clId="{49E1EDC4-949C-4C9A-9207-A653EB98B0DF}" dt="2024-11-19T09:17:18.019" v="4767" actId="47"/>
        <pc:sldMkLst>
          <pc:docMk/>
          <pc:sldMk cId="2253181248" sldId="2147476264"/>
        </pc:sldMkLst>
      </pc:sldChg>
      <pc:sldChg chg="add del ord">
        <pc:chgData name="Raphaella ASHRAF" userId="5247841d-d595-4c30-b58a-9906097315c5" providerId="ADAL" clId="{49E1EDC4-949C-4C9A-9207-A653EB98B0DF}" dt="2024-11-19T09:17:18.019" v="4767" actId="47"/>
        <pc:sldMkLst>
          <pc:docMk/>
          <pc:sldMk cId="2506993610" sldId="2147476265"/>
        </pc:sldMkLst>
      </pc:sldChg>
      <pc:sldChg chg="add del ord">
        <pc:chgData name="Raphaella ASHRAF" userId="5247841d-d595-4c30-b58a-9906097315c5" providerId="ADAL" clId="{49E1EDC4-949C-4C9A-9207-A653EB98B0DF}" dt="2024-11-19T09:17:18.019" v="4767" actId="47"/>
        <pc:sldMkLst>
          <pc:docMk/>
          <pc:sldMk cId="2187375297" sldId="2147476266"/>
        </pc:sldMkLst>
      </pc:sldChg>
      <pc:sldChg chg="add del ord">
        <pc:chgData name="Raphaella ASHRAF" userId="5247841d-d595-4c30-b58a-9906097315c5" providerId="ADAL" clId="{49E1EDC4-949C-4C9A-9207-A653EB98B0DF}" dt="2024-11-19T09:17:18.019" v="4767" actId="47"/>
        <pc:sldMkLst>
          <pc:docMk/>
          <pc:sldMk cId="2490640049" sldId="2147476267"/>
        </pc:sldMkLst>
      </pc:sldChg>
      <pc:sldChg chg="add del ord">
        <pc:chgData name="Raphaella ASHRAF" userId="5247841d-d595-4c30-b58a-9906097315c5" providerId="ADAL" clId="{49E1EDC4-949C-4C9A-9207-A653EB98B0DF}" dt="2024-11-19T09:17:18.019" v="4767" actId="47"/>
        <pc:sldMkLst>
          <pc:docMk/>
          <pc:sldMk cId="645983759" sldId="2147476268"/>
        </pc:sldMkLst>
      </pc:sldChg>
      <pc:sldChg chg="add del ord">
        <pc:chgData name="Raphaella ASHRAF" userId="5247841d-d595-4c30-b58a-9906097315c5" providerId="ADAL" clId="{49E1EDC4-949C-4C9A-9207-A653EB98B0DF}" dt="2024-11-19T09:17:18.019" v="4767" actId="47"/>
        <pc:sldMkLst>
          <pc:docMk/>
          <pc:sldMk cId="3760421136" sldId="2147476269"/>
        </pc:sldMkLst>
      </pc:sldChg>
      <pc:sldChg chg="add del ord">
        <pc:chgData name="Raphaella ASHRAF" userId="5247841d-d595-4c30-b58a-9906097315c5" providerId="ADAL" clId="{49E1EDC4-949C-4C9A-9207-A653EB98B0DF}" dt="2024-11-19T09:17:18.019" v="4767" actId="47"/>
        <pc:sldMkLst>
          <pc:docMk/>
          <pc:sldMk cId="2320411514" sldId="2147476270"/>
        </pc:sldMkLst>
      </pc:sldChg>
      <pc:sldChg chg="add del ord">
        <pc:chgData name="Raphaella ASHRAF" userId="5247841d-d595-4c30-b58a-9906097315c5" providerId="ADAL" clId="{49E1EDC4-949C-4C9A-9207-A653EB98B0DF}" dt="2024-11-19T09:17:18.019" v="4767" actId="47"/>
        <pc:sldMkLst>
          <pc:docMk/>
          <pc:sldMk cId="3800709551" sldId="2147476271"/>
        </pc:sldMkLst>
      </pc:sldChg>
      <pc:sldChg chg="add del ord">
        <pc:chgData name="Raphaella ASHRAF" userId="5247841d-d595-4c30-b58a-9906097315c5" providerId="ADAL" clId="{49E1EDC4-949C-4C9A-9207-A653EB98B0DF}" dt="2024-11-19T09:17:18.019" v="4767" actId="47"/>
        <pc:sldMkLst>
          <pc:docMk/>
          <pc:sldMk cId="2141854314" sldId="2147476272"/>
        </pc:sldMkLst>
      </pc:sldChg>
      <pc:sldChg chg="add del ord">
        <pc:chgData name="Raphaella ASHRAF" userId="5247841d-d595-4c30-b58a-9906097315c5" providerId="ADAL" clId="{49E1EDC4-949C-4C9A-9207-A653EB98B0DF}" dt="2024-11-19T09:17:18.019" v="4767" actId="47"/>
        <pc:sldMkLst>
          <pc:docMk/>
          <pc:sldMk cId="801723512" sldId="2147476273"/>
        </pc:sldMkLst>
      </pc:sldChg>
      <pc:sldChg chg="add del ord">
        <pc:chgData name="Raphaella ASHRAF" userId="5247841d-d595-4c30-b58a-9906097315c5" providerId="ADAL" clId="{49E1EDC4-949C-4C9A-9207-A653EB98B0DF}" dt="2024-11-19T09:17:18.019" v="4767" actId="47"/>
        <pc:sldMkLst>
          <pc:docMk/>
          <pc:sldMk cId="2623001815" sldId="2147476274"/>
        </pc:sldMkLst>
      </pc:sldChg>
      <pc:sldChg chg="add del ord">
        <pc:chgData name="Raphaella ASHRAF" userId="5247841d-d595-4c30-b58a-9906097315c5" providerId="ADAL" clId="{49E1EDC4-949C-4C9A-9207-A653EB98B0DF}" dt="2024-11-19T09:17:18.019" v="4767" actId="47"/>
        <pc:sldMkLst>
          <pc:docMk/>
          <pc:sldMk cId="2128901733" sldId="2147476275"/>
        </pc:sldMkLst>
      </pc:sldChg>
      <pc:sldChg chg="add del ord">
        <pc:chgData name="Raphaella ASHRAF" userId="5247841d-d595-4c30-b58a-9906097315c5" providerId="ADAL" clId="{49E1EDC4-949C-4C9A-9207-A653EB98B0DF}" dt="2024-11-19T09:17:18.019" v="4767" actId="47"/>
        <pc:sldMkLst>
          <pc:docMk/>
          <pc:sldMk cId="766132750" sldId="2147476276"/>
        </pc:sldMkLst>
      </pc:sldChg>
      <pc:sldChg chg="add del ord">
        <pc:chgData name="Raphaella ASHRAF" userId="5247841d-d595-4c30-b58a-9906097315c5" providerId="ADAL" clId="{49E1EDC4-949C-4C9A-9207-A653EB98B0DF}" dt="2024-11-19T09:17:18.019" v="4767" actId="47"/>
        <pc:sldMkLst>
          <pc:docMk/>
          <pc:sldMk cId="1467793639" sldId="2147476277"/>
        </pc:sldMkLst>
      </pc:sldChg>
      <pc:sldChg chg="add del ord">
        <pc:chgData name="Raphaella ASHRAF" userId="5247841d-d595-4c30-b58a-9906097315c5" providerId="ADAL" clId="{49E1EDC4-949C-4C9A-9207-A653EB98B0DF}" dt="2024-11-19T09:17:18.019" v="4767" actId="47"/>
        <pc:sldMkLst>
          <pc:docMk/>
          <pc:sldMk cId="1451180325" sldId="2147476278"/>
        </pc:sldMkLst>
      </pc:sldChg>
      <pc:sldChg chg="add del ord">
        <pc:chgData name="Raphaella ASHRAF" userId="5247841d-d595-4c30-b58a-9906097315c5" providerId="ADAL" clId="{49E1EDC4-949C-4C9A-9207-A653EB98B0DF}" dt="2024-11-19T09:17:18.019" v="4767" actId="47"/>
        <pc:sldMkLst>
          <pc:docMk/>
          <pc:sldMk cId="1639998390" sldId="2147476279"/>
        </pc:sldMkLst>
      </pc:sldChg>
      <pc:sldChg chg="add del ord">
        <pc:chgData name="Raphaella ASHRAF" userId="5247841d-d595-4c30-b58a-9906097315c5" providerId="ADAL" clId="{49E1EDC4-949C-4C9A-9207-A653EB98B0DF}" dt="2024-11-19T09:17:18.019" v="4767" actId="47"/>
        <pc:sldMkLst>
          <pc:docMk/>
          <pc:sldMk cId="2924126" sldId="2147476280"/>
        </pc:sldMkLst>
      </pc:sldChg>
      <pc:sldChg chg="add del ord">
        <pc:chgData name="Raphaella ASHRAF" userId="5247841d-d595-4c30-b58a-9906097315c5" providerId="ADAL" clId="{49E1EDC4-949C-4C9A-9207-A653EB98B0DF}" dt="2024-11-19T09:17:18.019" v="4767" actId="47"/>
        <pc:sldMkLst>
          <pc:docMk/>
          <pc:sldMk cId="1760967110" sldId="2147476281"/>
        </pc:sldMkLst>
      </pc:sldChg>
      <pc:sldChg chg="add del ord">
        <pc:chgData name="Raphaella ASHRAF" userId="5247841d-d595-4c30-b58a-9906097315c5" providerId="ADAL" clId="{49E1EDC4-949C-4C9A-9207-A653EB98B0DF}" dt="2024-11-19T09:17:18.019" v="4767" actId="47"/>
        <pc:sldMkLst>
          <pc:docMk/>
          <pc:sldMk cId="337688671" sldId="2147476282"/>
        </pc:sldMkLst>
      </pc:sldChg>
      <pc:sldChg chg="add del ord">
        <pc:chgData name="Raphaella ASHRAF" userId="5247841d-d595-4c30-b58a-9906097315c5" providerId="ADAL" clId="{49E1EDC4-949C-4C9A-9207-A653EB98B0DF}" dt="2024-11-19T09:17:18.019" v="4767" actId="47"/>
        <pc:sldMkLst>
          <pc:docMk/>
          <pc:sldMk cId="3448225914" sldId="2147476283"/>
        </pc:sldMkLst>
      </pc:sldChg>
      <pc:sldChg chg="add del ord">
        <pc:chgData name="Raphaella ASHRAF" userId="5247841d-d595-4c30-b58a-9906097315c5" providerId="ADAL" clId="{49E1EDC4-949C-4C9A-9207-A653EB98B0DF}" dt="2024-11-19T09:17:18.019" v="4767" actId="47"/>
        <pc:sldMkLst>
          <pc:docMk/>
          <pc:sldMk cId="3179217385" sldId="2147476284"/>
        </pc:sldMkLst>
      </pc:sldChg>
      <pc:sldChg chg="add del ord">
        <pc:chgData name="Raphaella ASHRAF" userId="5247841d-d595-4c30-b58a-9906097315c5" providerId="ADAL" clId="{49E1EDC4-949C-4C9A-9207-A653EB98B0DF}" dt="2024-11-19T09:17:18.019" v="4767" actId="47"/>
        <pc:sldMkLst>
          <pc:docMk/>
          <pc:sldMk cId="2429242722" sldId="2147476285"/>
        </pc:sldMkLst>
      </pc:sldChg>
      <pc:sldChg chg="add del ord">
        <pc:chgData name="Raphaella ASHRAF" userId="5247841d-d595-4c30-b58a-9906097315c5" providerId="ADAL" clId="{49E1EDC4-949C-4C9A-9207-A653EB98B0DF}" dt="2024-11-19T09:17:18.019" v="4767" actId="47"/>
        <pc:sldMkLst>
          <pc:docMk/>
          <pc:sldMk cId="4221936473" sldId="2147476286"/>
        </pc:sldMkLst>
      </pc:sldChg>
      <pc:sldChg chg="add del ord">
        <pc:chgData name="Raphaella ASHRAF" userId="5247841d-d595-4c30-b58a-9906097315c5" providerId="ADAL" clId="{49E1EDC4-949C-4C9A-9207-A653EB98B0DF}" dt="2024-11-19T09:17:18.019" v="4767" actId="47"/>
        <pc:sldMkLst>
          <pc:docMk/>
          <pc:sldMk cId="2820686937" sldId="2147476287"/>
        </pc:sldMkLst>
      </pc:sldChg>
      <pc:sldChg chg="add del ord">
        <pc:chgData name="Raphaella ASHRAF" userId="5247841d-d595-4c30-b58a-9906097315c5" providerId="ADAL" clId="{49E1EDC4-949C-4C9A-9207-A653EB98B0DF}" dt="2024-11-19T09:17:18.019" v="4767" actId="47"/>
        <pc:sldMkLst>
          <pc:docMk/>
          <pc:sldMk cId="3956926044" sldId="2147476288"/>
        </pc:sldMkLst>
      </pc:sldChg>
      <pc:sldChg chg="add del ord">
        <pc:chgData name="Raphaella ASHRAF" userId="5247841d-d595-4c30-b58a-9906097315c5" providerId="ADAL" clId="{49E1EDC4-949C-4C9A-9207-A653EB98B0DF}" dt="2024-11-19T09:17:18.019" v="4767" actId="47"/>
        <pc:sldMkLst>
          <pc:docMk/>
          <pc:sldMk cId="2187696662" sldId="2147476289"/>
        </pc:sldMkLst>
      </pc:sldChg>
      <pc:sldChg chg="add del ord">
        <pc:chgData name="Raphaella ASHRAF" userId="5247841d-d595-4c30-b58a-9906097315c5" providerId="ADAL" clId="{49E1EDC4-949C-4C9A-9207-A653EB98B0DF}" dt="2024-11-19T09:17:18.019" v="4767" actId="47"/>
        <pc:sldMkLst>
          <pc:docMk/>
          <pc:sldMk cId="3944573867" sldId="2147476290"/>
        </pc:sldMkLst>
      </pc:sldChg>
      <pc:sldChg chg="add del ord">
        <pc:chgData name="Raphaella ASHRAF" userId="5247841d-d595-4c30-b58a-9906097315c5" providerId="ADAL" clId="{49E1EDC4-949C-4C9A-9207-A653EB98B0DF}" dt="2024-11-19T09:17:18.019" v="4767" actId="47"/>
        <pc:sldMkLst>
          <pc:docMk/>
          <pc:sldMk cId="1922703865" sldId="2147476291"/>
        </pc:sldMkLst>
      </pc:sldChg>
      <pc:sldChg chg="add del ord">
        <pc:chgData name="Raphaella ASHRAF" userId="5247841d-d595-4c30-b58a-9906097315c5" providerId="ADAL" clId="{49E1EDC4-949C-4C9A-9207-A653EB98B0DF}" dt="2024-11-19T09:17:18.019" v="4767" actId="47"/>
        <pc:sldMkLst>
          <pc:docMk/>
          <pc:sldMk cId="2943105541" sldId="2147476292"/>
        </pc:sldMkLst>
      </pc:sldChg>
      <pc:sldChg chg="add del ord">
        <pc:chgData name="Raphaella ASHRAF" userId="5247841d-d595-4c30-b58a-9906097315c5" providerId="ADAL" clId="{49E1EDC4-949C-4C9A-9207-A653EB98B0DF}" dt="2024-11-19T09:17:18.019" v="4767" actId="47"/>
        <pc:sldMkLst>
          <pc:docMk/>
          <pc:sldMk cId="3636207114" sldId="2147476293"/>
        </pc:sldMkLst>
      </pc:sldChg>
      <pc:sldChg chg="add del ord">
        <pc:chgData name="Raphaella ASHRAF" userId="5247841d-d595-4c30-b58a-9906097315c5" providerId="ADAL" clId="{49E1EDC4-949C-4C9A-9207-A653EB98B0DF}" dt="2024-11-19T09:17:18.019" v="4767" actId="47"/>
        <pc:sldMkLst>
          <pc:docMk/>
          <pc:sldMk cId="876597973" sldId="2147476294"/>
        </pc:sldMkLst>
      </pc:sldChg>
      <pc:sldChg chg="add del ord">
        <pc:chgData name="Raphaella ASHRAF" userId="5247841d-d595-4c30-b58a-9906097315c5" providerId="ADAL" clId="{49E1EDC4-949C-4C9A-9207-A653EB98B0DF}" dt="2024-11-19T09:17:18.019" v="4767" actId="47"/>
        <pc:sldMkLst>
          <pc:docMk/>
          <pc:sldMk cId="995755845" sldId="2147476295"/>
        </pc:sldMkLst>
      </pc:sldChg>
      <pc:sldChg chg="add del ord">
        <pc:chgData name="Raphaella ASHRAF" userId="5247841d-d595-4c30-b58a-9906097315c5" providerId="ADAL" clId="{49E1EDC4-949C-4C9A-9207-A653EB98B0DF}" dt="2024-11-19T09:17:18.019" v="4767" actId="47"/>
        <pc:sldMkLst>
          <pc:docMk/>
          <pc:sldMk cId="3499006467" sldId="2147476296"/>
        </pc:sldMkLst>
      </pc:sldChg>
      <pc:sldChg chg="add del ord">
        <pc:chgData name="Raphaella ASHRAF" userId="5247841d-d595-4c30-b58a-9906097315c5" providerId="ADAL" clId="{49E1EDC4-949C-4C9A-9207-A653EB98B0DF}" dt="2024-11-19T09:17:18.019" v="4767" actId="47"/>
        <pc:sldMkLst>
          <pc:docMk/>
          <pc:sldMk cId="3135146382" sldId="2147476297"/>
        </pc:sldMkLst>
      </pc:sldChg>
      <pc:sldChg chg="add del ord">
        <pc:chgData name="Raphaella ASHRAF" userId="5247841d-d595-4c30-b58a-9906097315c5" providerId="ADAL" clId="{49E1EDC4-949C-4C9A-9207-A653EB98B0DF}" dt="2024-11-19T09:17:18.019" v="4767" actId="47"/>
        <pc:sldMkLst>
          <pc:docMk/>
          <pc:sldMk cId="3728069067" sldId="2147476298"/>
        </pc:sldMkLst>
      </pc:sldChg>
      <pc:sldChg chg="add del ord">
        <pc:chgData name="Raphaella ASHRAF" userId="5247841d-d595-4c30-b58a-9906097315c5" providerId="ADAL" clId="{49E1EDC4-949C-4C9A-9207-A653EB98B0DF}" dt="2024-11-19T09:17:18.019" v="4767" actId="47"/>
        <pc:sldMkLst>
          <pc:docMk/>
          <pc:sldMk cId="2667538426" sldId="2147476299"/>
        </pc:sldMkLst>
      </pc:sldChg>
      <pc:sldChg chg="add del ord">
        <pc:chgData name="Raphaella ASHRAF" userId="5247841d-d595-4c30-b58a-9906097315c5" providerId="ADAL" clId="{49E1EDC4-949C-4C9A-9207-A653EB98B0DF}" dt="2024-11-19T09:17:18.019" v="4767" actId="47"/>
        <pc:sldMkLst>
          <pc:docMk/>
          <pc:sldMk cId="47891652" sldId="2147476300"/>
        </pc:sldMkLst>
      </pc:sldChg>
      <pc:sldChg chg="add del ord">
        <pc:chgData name="Raphaella ASHRAF" userId="5247841d-d595-4c30-b58a-9906097315c5" providerId="ADAL" clId="{49E1EDC4-949C-4C9A-9207-A653EB98B0DF}" dt="2024-11-19T09:17:18.019" v="4767" actId="47"/>
        <pc:sldMkLst>
          <pc:docMk/>
          <pc:sldMk cId="1703415161" sldId="2147476301"/>
        </pc:sldMkLst>
      </pc:sldChg>
      <pc:sldChg chg="add del ord">
        <pc:chgData name="Raphaella ASHRAF" userId="5247841d-d595-4c30-b58a-9906097315c5" providerId="ADAL" clId="{49E1EDC4-949C-4C9A-9207-A653EB98B0DF}" dt="2024-11-19T09:17:18.019" v="4767" actId="47"/>
        <pc:sldMkLst>
          <pc:docMk/>
          <pc:sldMk cId="1002080052" sldId="2147476302"/>
        </pc:sldMkLst>
      </pc:sldChg>
      <pc:sldChg chg="add del ord">
        <pc:chgData name="Raphaella ASHRAF" userId="5247841d-d595-4c30-b58a-9906097315c5" providerId="ADAL" clId="{49E1EDC4-949C-4C9A-9207-A653EB98B0DF}" dt="2024-11-19T09:17:18.019" v="4767" actId="47"/>
        <pc:sldMkLst>
          <pc:docMk/>
          <pc:sldMk cId="2717840655" sldId="2147476303"/>
        </pc:sldMkLst>
      </pc:sldChg>
      <pc:sldChg chg="add del ord">
        <pc:chgData name="Raphaella ASHRAF" userId="5247841d-d595-4c30-b58a-9906097315c5" providerId="ADAL" clId="{49E1EDC4-949C-4C9A-9207-A653EB98B0DF}" dt="2024-11-19T09:17:18.019" v="4767" actId="47"/>
        <pc:sldMkLst>
          <pc:docMk/>
          <pc:sldMk cId="2538844768" sldId="2147476304"/>
        </pc:sldMkLst>
      </pc:sldChg>
      <pc:sldChg chg="add del ord">
        <pc:chgData name="Raphaella ASHRAF" userId="5247841d-d595-4c30-b58a-9906097315c5" providerId="ADAL" clId="{49E1EDC4-949C-4C9A-9207-A653EB98B0DF}" dt="2024-11-19T09:17:18.019" v="4767" actId="47"/>
        <pc:sldMkLst>
          <pc:docMk/>
          <pc:sldMk cId="3556148169" sldId="2147476305"/>
        </pc:sldMkLst>
      </pc:sldChg>
      <pc:sldChg chg="add del ord">
        <pc:chgData name="Raphaella ASHRAF" userId="5247841d-d595-4c30-b58a-9906097315c5" providerId="ADAL" clId="{49E1EDC4-949C-4C9A-9207-A653EB98B0DF}" dt="2024-11-19T09:17:18.019" v="4767" actId="47"/>
        <pc:sldMkLst>
          <pc:docMk/>
          <pc:sldMk cId="3669940708" sldId="2147476306"/>
        </pc:sldMkLst>
      </pc:sldChg>
      <pc:sldChg chg="add del ord">
        <pc:chgData name="Raphaella ASHRAF" userId="5247841d-d595-4c30-b58a-9906097315c5" providerId="ADAL" clId="{49E1EDC4-949C-4C9A-9207-A653EB98B0DF}" dt="2024-11-19T09:17:18.019" v="4767" actId="47"/>
        <pc:sldMkLst>
          <pc:docMk/>
          <pc:sldMk cId="3222881955" sldId="2147476307"/>
        </pc:sldMkLst>
      </pc:sldChg>
      <pc:sldChg chg="add del ord">
        <pc:chgData name="Raphaella ASHRAF" userId="5247841d-d595-4c30-b58a-9906097315c5" providerId="ADAL" clId="{49E1EDC4-949C-4C9A-9207-A653EB98B0DF}" dt="2024-11-19T09:17:18.019" v="4767" actId="47"/>
        <pc:sldMkLst>
          <pc:docMk/>
          <pc:sldMk cId="853430850" sldId="2147476308"/>
        </pc:sldMkLst>
      </pc:sldChg>
      <pc:sldChg chg="add del ord">
        <pc:chgData name="Raphaella ASHRAF" userId="5247841d-d595-4c30-b58a-9906097315c5" providerId="ADAL" clId="{49E1EDC4-949C-4C9A-9207-A653EB98B0DF}" dt="2024-11-19T09:17:18.019" v="4767" actId="47"/>
        <pc:sldMkLst>
          <pc:docMk/>
          <pc:sldMk cId="688329266" sldId="2147476309"/>
        </pc:sldMkLst>
      </pc:sldChg>
      <pc:sldChg chg="add del ord">
        <pc:chgData name="Raphaella ASHRAF" userId="5247841d-d595-4c30-b58a-9906097315c5" providerId="ADAL" clId="{49E1EDC4-949C-4C9A-9207-A653EB98B0DF}" dt="2024-11-19T09:17:18.019" v="4767" actId="47"/>
        <pc:sldMkLst>
          <pc:docMk/>
          <pc:sldMk cId="3554068082" sldId="2147476310"/>
        </pc:sldMkLst>
      </pc:sldChg>
      <pc:sldChg chg="add del ord">
        <pc:chgData name="Raphaella ASHRAF" userId="5247841d-d595-4c30-b58a-9906097315c5" providerId="ADAL" clId="{49E1EDC4-949C-4C9A-9207-A653EB98B0DF}" dt="2024-11-19T09:17:18.019" v="4767" actId="47"/>
        <pc:sldMkLst>
          <pc:docMk/>
          <pc:sldMk cId="2254557450" sldId="2147476311"/>
        </pc:sldMkLst>
      </pc:sldChg>
      <pc:sldChg chg="add del ord">
        <pc:chgData name="Raphaella ASHRAF" userId="5247841d-d595-4c30-b58a-9906097315c5" providerId="ADAL" clId="{49E1EDC4-949C-4C9A-9207-A653EB98B0DF}" dt="2024-11-19T09:17:18.019" v="4767" actId="47"/>
        <pc:sldMkLst>
          <pc:docMk/>
          <pc:sldMk cId="2453710195" sldId="2147476312"/>
        </pc:sldMkLst>
      </pc:sldChg>
      <pc:sldChg chg="add del ord">
        <pc:chgData name="Raphaella ASHRAF" userId="5247841d-d595-4c30-b58a-9906097315c5" providerId="ADAL" clId="{49E1EDC4-949C-4C9A-9207-A653EB98B0DF}" dt="2024-11-19T09:17:18.019" v="4767" actId="47"/>
        <pc:sldMkLst>
          <pc:docMk/>
          <pc:sldMk cId="3663049504" sldId="2147476313"/>
        </pc:sldMkLst>
      </pc:sldChg>
      <pc:sldChg chg="add del ord">
        <pc:chgData name="Raphaella ASHRAF" userId="5247841d-d595-4c30-b58a-9906097315c5" providerId="ADAL" clId="{49E1EDC4-949C-4C9A-9207-A653EB98B0DF}" dt="2024-11-19T09:17:18.019" v="4767" actId="47"/>
        <pc:sldMkLst>
          <pc:docMk/>
          <pc:sldMk cId="2621937043" sldId="2147476314"/>
        </pc:sldMkLst>
      </pc:sldChg>
      <pc:sldChg chg="add del ord">
        <pc:chgData name="Raphaella ASHRAF" userId="5247841d-d595-4c30-b58a-9906097315c5" providerId="ADAL" clId="{49E1EDC4-949C-4C9A-9207-A653EB98B0DF}" dt="2024-11-19T09:17:18.019" v="4767" actId="47"/>
        <pc:sldMkLst>
          <pc:docMk/>
          <pc:sldMk cId="3936268157" sldId="2147476315"/>
        </pc:sldMkLst>
      </pc:sldChg>
      <pc:sldChg chg="add del ord">
        <pc:chgData name="Raphaella ASHRAF" userId="5247841d-d595-4c30-b58a-9906097315c5" providerId="ADAL" clId="{49E1EDC4-949C-4C9A-9207-A653EB98B0DF}" dt="2024-11-19T09:17:18.019" v="4767" actId="47"/>
        <pc:sldMkLst>
          <pc:docMk/>
          <pc:sldMk cId="2287313205" sldId="2147476316"/>
        </pc:sldMkLst>
      </pc:sldChg>
      <pc:sldChg chg="add del ord">
        <pc:chgData name="Raphaella ASHRAF" userId="5247841d-d595-4c30-b58a-9906097315c5" providerId="ADAL" clId="{49E1EDC4-949C-4C9A-9207-A653EB98B0DF}" dt="2024-11-19T09:17:18.019" v="4767" actId="47"/>
        <pc:sldMkLst>
          <pc:docMk/>
          <pc:sldMk cId="3124565353" sldId="2147476317"/>
        </pc:sldMkLst>
      </pc:sldChg>
      <pc:sldChg chg="add del ord">
        <pc:chgData name="Raphaella ASHRAF" userId="5247841d-d595-4c30-b58a-9906097315c5" providerId="ADAL" clId="{49E1EDC4-949C-4C9A-9207-A653EB98B0DF}" dt="2024-11-19T09:17:18.019" v="4767" actId="47"/>
        <pc:sldMkLst>
          <pc:docMk/>
          <pc:sldMk cId="2806579967" sldId="2147476318"/>
        </pc:sldMkLst>
      </pc:sldChg>
      <pc:sldChg chg="add del ord">
        <pc:chgData name="Raphaella ASHRAF" userId="5247841d-d595-4c30-b58a-9906097315c5" providerId="ADAL" clId="{49E1EDC4-949C-4C9A-9207-A653EB98B0DF}" dt="2024-11-19T09:17:18.019" v="4767" actId="47"/>
        <pc:sldMkLst>
          <pc:docMk/>
          <pc:sldMk cId="2903107607" sldId="2147476319"/>
        </pc:sldMkLst>
      </pc:sldChg>
      <pc:sldChg chg="add del ord">
        <pc:chgData name="Raphaella ASHRAF" userId="5247841d-d595-4c30-b58a-9906097315c5" providerId="ADAL" clId="{49E1EDC4-949C-4C9A-9207-A653EB98B0DF}" dt="2024-11-19T09:17:18.019" v="4767" actId="47"/>
        <pc:sldMkLst>
          <pc:docMk/>
          <pc:sldMk cId="2630351145" sldId="2147476320"/>
        </pc:sldMkLst>
      </pc:sldChg>
      <pc:sldChg chg="add del ord">
        <pc:chgData name="Raphaella ASHRAF" userId="5247841d-d595-4c30-b58a-9906097315c5" providerId="ADAL" clId="{49E1EDC4-949C-4C9A-9207-A653EB98B0DF}" dt="2024-11-19T09:17:18.019" v="4767" actId="47"/>
        <pc:sldMkLst>
          <pc:docMk/>
          <pc:sldMk cId="3347228138" sldId="2147476321"/>
        </pc:sldMkLst>
      </pc:sldChg>
      <pc:sldChg chg="add del ord">
        <pc:chgData name="Raphaella ASHRAF" userId="5247841d-d595-4c30-b58a-9906097315c5" providerId="ADAL" clId="{49E1EDC4-949C-4C9A-9207-A653EB98B0DF}" dt="2024-11-19T09:17:18.019" v="4767" actId="47"/>
        <pc:sldMkLst>
          <pc:docMk/>
          <pc:sldMk cId="2020565606" sldId="2147476322"/>
        </pc:sldMkLst>
      </pc:sldChg>
      <pc:sldChg chg="add del ord">
        <pc:chgData name="Raphaella ASHRAF" userId="5247841d-d595-4c30-b58a-9906097315c5" providerId="ADAL" clId="{49E1EDC4-949C-4C9A-9207-A653EB98B0DF}" dt="2024-11-19T09:17:18.019" v="4767" actId="47"/>
        <pc:sldMkLst>
          <pc:docMk/>
          <pc:sldMk cId="2361119795" sldId="2147476323"/>
        </pc:sldMkLst>
      </pc:sldChg>
      <pc:sldChg chg="add del ord">
        <pc:chgData name="Raphaella ASHRAF" userId="5247841d-d595-4c30-b58a-9906097315c5" providerId="ADAL" clId="{49E1EDC4-949C-4C9A-9207-A653EB98B0DF}" dt="2024-11-19T09:17:18.019" v="4767" actId="47"/>
        <pc:sldMkLst>
          <pc:docMk/>
          <pc:sldMk cId="2409809622" sldId="2147476324"/>
        </pc:sldMkLst>
      </pc:sldChg>
      <pc:sldChg chg="add del ord">
        <pc:chgData name="Raphaella ASHRAF" userId="5247841d-d595-4c30-b58a-9906097315c5" providerId="ADAL" clId="{49E1EDC4-949C-4C9A-9207-A653EB98B0DF}" dt="2024-11-19T09:17:18.019" v="4767" actId="47"/>
        <pc:sldMkLst>
          <pc:docMk/>
          <pc:sldMk cId="765950555" sldId="2147476325"/>
        </pc:sldMkLst>
      </pc:sldChg>
      <pc:sldChg chg="add del ord">
        <pc:chgData name="Raphaella ASHRAF" userId="5247841d-d595-4c30-b58a-9906097315c5" providerId="ADAL" clId="{49E1EDC4-949C-4C9A-9207-A653EB98B0DF}" dt="2024-11-19T09:17:18.019" v="4767" actId="47"/>
        <pc:sldMkLst>
          <pc:docMk/>
          <pc:sldMk cId="3662738193" sldId="2147476326"/>
        </pc:sldMkLst>
      </pc:sldChg>
      <pc:sldChg chg="add del ord">
        <pc:chgData name="Raphaella ASHRAF" userId="5247841d-d595-4c30-b58a-9906097315c5" providerId="ADAL" clId="{49E1EDC4-949C-4C9A-9207-A653EB98B0DF}" dt="2024-11-19T09:17:18.019" v="4767" actId="47"/>
        <pc:sldMkLst>
          <pc:docMk/>
          <pc:sldMk cId="1182104483" sldId="2147476327"/>
        </pc:sldMkLst>
      </pc:sldChg>
      <pc:sldChg chg="add del ord">
        <pc:chgData name="Raphaella ASHRAF" userId="5247841d-d595-4c30-b58a-9906097315c5" providerId="ADAL" clId="{49E1EDC4-949C-4C9A-9207-A653EB98B0DF}" dt="2024-11-19T09:17:18.019" v="4767" actId="47"/>
        <pc:sldMkLst>
          <pc:docMk/>
          <pc:sldMk cId="3605936059" sldId="2147476328"/>
        </pc:sldMkLst>
      </pc:sldChg>
      <pc:sldChg chg="add del ord">
        <pc:chgData name="Raphaella ASHRAF" userId="5247841d-d595-4c30-b58a-9906097315c5" providerId="ADAL" clId="{49E1EDC4-949C-4C9A-9207-A653EB98B0DF}" dt="2024-11-19T09:17:18.019" v="4767" actId="47"/>
        <pc:sldMkLst>
          <pc:docMk/>
          <pc:sldMk cId="1695760346" sldId="2147476329"/>
        </pc:sldMkLst>
      </pc:sldChg>
      <pc:sldChg chg="add del ord">
        <pc:chgData name="Raphaella ASHRAF" userId="5247841d-d595-4c30-b58a-9906097315c5" providerId="ADAL" clId="{49E1EDC4-949C-4C9A-9207-A653EB98B0DF}" dt="2024-11-19T09:17:18.019" v="4767" actId="47"/>
        <pc:sldMkLst>
          <pc:docMk/>
          <pc:sldMk cId="963825977" sldId="2147476330"/>
        </pc:sldMkLst>
      </pc:sldChg>
      <pc:sldChg chg="add del ord">
        <pc:chgData name="Raphaella ASHRAF" userId="5247841d-d595-4c30-b58a-9906097315c5" providerId="ADAL" clId="{49E1EDC4-949C-4C9A-9207-A653EB98B0DF}" dt="2024-11-19T09:17:18.019" v="4767" actId="47"/>
        <pc:sldMkLst>
          <pc:docMk/>
          <pc:sldMk cId="515192334" sldId="2147476331"/>
        </pc:sldMkLst>
      </pc:sldChg>
      <pc:sldChg chg="add del ord">
        <pc:chgData name="Raphaella ASHRAF" userId="5247841d-d595-4c30-b58a-9906097315c5" providerId="ADAL" clId="{49E1EDC4-949C-4C9A-9207-A653EB98B0DF}" dt="2024-11-19T09:17:18.019" v="4767" actId="47"/>
        <pc:sldMkLst>
          <pc:docMk/>
          <pc:sldMk cId="962060395" sldId="2147476332"/>
        </pc:sldMkLst>
      </pc:sldChg>
      <pc:sldChg chg="add del ord">
        <pc:chgData name="Raphaella ASHRAF" userId="5247841d-d595-4c30-b58a-9906097315c5" providerId="ADAL" clId="{49E1EDC4-949C-4C9A-9207-A653EB98B0DF}" dt="2024-11-19T09:17:18.019" v="4767" actId="47"/>
        <pc:sldMkLst>
          <pc:docMk/>
          <pc:sldMk cId="1185690506" sldId="2147476333"/>
        </pc:sldMkLst>
      </pc:sldChg>
      <pc:sldChg chg="add del ord">
        <pc:chgData name="Raphaella ASHRAF" userId="5247841d-d595-4c30-b58a-9906097315c5" providerId="ADAL" clId="{49E1EDC4-949C-4C9A-9207-A653EB98B0DF}" dt="2024-11-19T09:17:18.019" v="4767" actId="47"/>
        <pc:sldMkLst>
          <pc:docMk/>
          <pc:sldMk cId="1364106035" sldId="2147476334"/>
        </pc:sldMkLst>
      </pc:sldChg>
      <pc:sldChg chg="add del ord">
        <pc:chgData name="Raphaella ASHRAF" userId="5247841d-d595-4c30-b58a-9906097315c5" providerId="ADAL" clId="{49E1EDC4-949C-4C9A-9207-A653EB98B0DF}" dt="2024-11-19T09:17:18.019" v="4767" actId="47"/>
        <pc:sldMkLst>
          <pc:docMk/>
          <pc:sldMk cId="117557442" sldId="2147476335"/>
        </pc:sldMkLst>
      </pc:sldChg>
      <pc:sldChg chg="add del ord">
        <pc:chgData name="Raphaella ASHRAF" userId="5247841d-d595-4c30-b58a-9906097315c5" providerId="ADAL" clId="{49E1EDC4-949C-4C9A-9207-A653EB98B0DF}" dt="2024-11-19T09:17:18.019" v="4767" actId="47"/>
        <pc:sldMkLst>
          <pc:docMk/>
          <pc:sldMk cId="1986758357" sldId="2147476336"/>
        </pc:sldMkLst>
      </pc:sldChg>
      <pc:sldChg chg="add del ord">
        <pc:chgData name="Raphaella ASHRAF" userId="5247841d-d595-4c30-b58a-9906097315c5" providerId="ADAL" clId="{49E1EDC4-949C-4C9A-9207-A653EB98B0DF}" dt="2024-11-19T09:17:18.019" v="4767" actId="47"/>
        <pc:sldMkLst>
          <pc:docMk/>
          <pc:sldMk cId="1326065599" sldId="2147476337"/>
        </pc:sldMkLst>
      </pc:sldChg>
      <pc:sldChg chg="add del ord">
        <pc:chgData name="Raphaella ASHRAF" userId="5247841d-d595-4c30-b58a-9906097315c5" providerId="ADAL" clId="{49E1EDC4-949C-4C9A-9207-A653EB98B0DF}" dt="2024-11-19T09:17:18.019" v="4767" actId="47"/>
        <pc:sldMkLst>
          <pc:docMk/>
          <pc:sldMk cId="3579193018" sldId="2147476338"/>
        </pc:sldMkLst>
      </pc:sldChg>
      <pc:sldChg chg="add del ord">
        <pc:chgData name="Raphaella ASHRAF" userId="5247841d-d595-4c30-b58a-9906097315c5" providerId="ADAL" clId="{49E1EDC4-949C-4C9A-9207-A653EB98B0DF}" dt="2024-11-19T09:17:18.019" v="4767" actId="47"/>
        <pc:sldMkLst>
          <pc:docMk/>
          <pc:sldMk cId="3229629065" sldId="2147476339"/>
        </pc:sldMkLst>
      </pc:sldChg>
      <pc:sldChg chg="add del ord">
        <pc:chgData name="Raphaella ASHRAF" userId="5247841d-d595-4c30-b58a-9906097315c5" providerId="ADAL" clId="{49E1EDC4-949C-4C9A-9207-A653EB98B0DF}" dt="2024-11-19T09:17:18.019" v="4767" actId="47"/>
        <pc:sldMkLst>
          <pc:docMk/>
          <pc:sldMk cId="1324968493" sldId="2147476340"/>
        </pc:sldMkLst>
      </pc:sldChg>
      <pc:sldChg chg="add del ord">
        <pc:chgData name="Raphaella ASHRAF" userId="5247841d-d595-4c30-b58a-9906097315c5" providerId="ADAL" clId="{49E1EDC4-949C-4C9A-9207-A653EB98B0DF}" dt="2024-11-19T09:17:18.019" v="4767" actId="47"/>
        <pc:sldMkLst>
          <pc:docMk/>
          <pc:sldMk cId="399822953" sldId="2147476341"/>
        </pc:sldMkLst>
      </pc:sldChg>
      <pc:sldChg chg="add del ord">
        <pc:chgData name="Raphaella ASHRAF" userId="5247841d-d595-4c30-b58a-9906097315c5" providerId="ADAL" clId="{49E1EDC4-949C-4C9A-9207-A653EB98B0DF}" dt="2024-11-19T09:17:18.019" v="4767" actId="47"/>
        <pc:sldMkLst>
          <pc:docMk/>
          <pc:sldMk cId="4006917807" sldId="2147476342"/>
        </pc:sldMkLst>
      </pc:sldChg>
      <pc:sldChg chg="add del ord">
        <pc:chgData name="Raphaella ASHRAF" userId="5247841d-d595-4c30-b58a-9906097315c5" providerId="ADAL" clId="{49E1EDC4-949C-4C9A-9207-A653EB98B0DF}" dt="2024-11-19T09:17:18.019" v="4767" actId="47"/>
        <pc:sldMkLst>
          <pc:docMk/>
          <pc:sldMk cId="4058384370" sldId="2147476343"/>
        </pc:sldMkLst>
      </pc:sldChg>
      <pc:sldChg chg="add del ord">
        <pc:chgData name="Raphaella ASHRAF" userId="5247841d-d595-4c30-b58a-9906097315c5" providerId="ADAL" clId="{49E1EDC4-949C-4C9A-9207-A653EB98B0DF}" dt="2024-11-19T09:17:18.019" v="4767" actId="47"/>
        <pc:sldMkLst>
          <pc:docMk/>
          <pc:sldMk cId="1565425980" sldId="2147476344"/>
        </pc:sldMkLst>
      </pc:sldChg>
      <pc:sldChg chg="add del ord">
        <pc:chgData name="Raphaella ASHRAF" userId="5247841d-d595-4c30-b58a-9906097315c5" providerId="ADAL" clId="{49E1EDC4-949C-4C9A-9207-A653EB98B0DF}" dt="2024-11-19T09:17:18.019" v="4767" actId="47"/>
        <pc:sldMkLst>
          <pc:docMk/>
          <pc:sldMk cId="726227774" sldId="2147476345"/>
        </pc:sldMkLst>
      </pc:sldChg>
      <pc:sldChg chg="add del ord">
        <pc:chgData name="Raphaella ASHRAF" userId="5247841d-d595-4c30-b58a-9906097315c5" providerId="ADAL" clId="{49E1EDC4-949C-4C9A-9207-A653EB98B0DF}" dt="2024-11-19T09:17:18.019" v="4767" actId="47"/>
        <pc:sldMkLst>
          <pc:docMk/>
          <pc:sldMk cId="791498367" sldId="2147476346"/>
        </pc:sldMkLst>
      </pc:sldChg>
      <pc:sldChg chg="add del ord">
        <pc:chgData name="Raphaella ASHRAF" userId="5247841d-d595-4c30-b58a-9906097315c5" providerId="ADAL" clId="{49E1EDC4-949C-4C9A-9207-A653EB98B0DF}" dt="2024-11-19T09:17:18.019" v="4767" actId="47"/>
        <pc:sldMkLst>
          <pc:docMk/>
          <pc:sldMk cId="1656248674" sldId="2147476347"/>
        </pc:sldMkLst>
      </pc:sldChg>
      <pc:sldChg chg="add del ord">
        <pc:chgData name="Raphaella ASHRAF" userId="5247841d-d595-4c30-b58a-9906097315c5" providerId="ADAL" clId="{49E1EDC4-949C-4C9A-9207-A653EB98B0DF}" dt="2024-11-19T09:17:18.019" v="4767" actId="47"/>
        <pc:sldMkLst>
          <pc:docMk/>
          <pc:sldMk cId="2738621437" sldId="2147476348"/>
        </pc:sldMkLst>
      </pc:sldChg>
      <pc:sldChg chg="add del ord">
        <pc:chgData name="Raphaella ASHRAF" userId="5247841d-d595-4c30-b58a-9906097315c5" providerId="ADAL" clId="{49E1EDC4-949C-4C9A-9207-A653EB98B0DF}" dt="2024-11-19T09:17:18.019" v="4767" actId="47"/>
        <pc:sldMkLst>
          <pc:docMk/>
          <pc:sldMk cId="421293777" sldId="2147476349"/>
        </pc:sldMkLst>
      </pc:sldChg>
      <pc:sldChg chg="add del ord">
        <pc:chgData name="Raphaella ASHRAF" userId="5247841d-d595-4c30-b58a-9906097315c5" providerId="ADAL" clId="{49E1EDC4-949C-4C9A-9207-A653EB98B0DF}" dt="2024-11-19T09:17:18.019" v="4767" actId="47"/>
        <pc:sldMkLst>
          <pc:docMk/>
          <pc:sldMk cId="1849803438" sldId="2147476350"/>
        </pc:sldMkLst>
      </pc:sldChg>
      <pc:sldChg chg="add del ord">
        <pc:chgData name="Raphaella ASHRAF" userId="5247841d-d595-4c30-b58a-9906097315c5" providerId="ADAL" clId="{49E1EDC4-949C-4C9A-9207-A653EB98B0DF}" dt="2024-11-19T09:17:18.019" v="4767" actId="47"/>
        <pc:sldMkLst>
          <pc:docMk/>
          <pc:sldMk cId="1231076267" sldId="2147476351"/>
        </pc:sldMkLst>
      </pc:sldChg>
      <pc:sldChg chg="add del ord">
        <pc:chgData name="Raphaella ASHRAF" userId="5247841d-d595-4c30-b58a-9906097315c5" providerId="ADAL" clId="{49E1EDC4-949C-4C9A-9207-A653EB98B0DF}" dt="2024-11-19T09:17:18.019" v="4767" actId="47"/>
        <pc:sldMkLst>
          <pc:docMk/>
          <pc:sldMk cId="3679879401" sldId="2147476352"/>
        </pc:sldMkLst>
      </pc:sldChg>
      <pc:sldChg chg="add del ord">
        <pc:chgData name="Raphaella ASHRAF" userId="5247841d-d595-4c30-b58a-9906097315c5" providerId="ADAL" clId="{49E1EDC4-949C-4C9A-9207-A653EB98B0DF}" dt="2024-11-19T09:17:18.019" v="4767" actId="47"/>
        <pc:sldMkLst>
          <pc:docMk/>
          <pc:sldMk cId="25206162" sldId="2147476353"/>
        </pc:sldMkLst>
      </pc:sldChg>
      <pc:sldChg chg="add del ord">
        <pc:chgData name="Raphaella ASHRAF" userId="5247841d-d595-4c30-b58a-9906097315c5" providerId="ADAL" clId="{49E1EDC4-949C-4C9A-9207-A653EB98B0DF}" dt="2024-11-19T09:17:18.019" v="4767" actId="47"/>
        <pc:sldMkLst>
          <pc:docMk/>
          <pc:sldMk cId="3304352410" sldId="2147476354"/>
        </pc:sldMkLst>
      </pc:sldChg>
      <pc:sldChg chg="add del ord">
        <pc:chgData name="Raphaella ASHRAF" userId="5247841d-d595-4c30-b58a-9906097315c5" providerId="ADAL" clId="{49E1EDC4-949C-4C9A-9207-A653EB98B0DF}" dt="2024-11-19T09:17:18.019" v="4767" actId="47"/>
        <pc:sldMkLst>
          <pc:docMk/>
          <pc:sldMk cId="1103010442" sldId="2147476355"/>
        </pc:sldMkLst>
      </pc:sldChg>
      <pc:sldChg chg="add del ord">
        <pc:chgData name="Raphaella ASHRAF" userId="5247841d-d595-4c30-b58a-9906097315c5" providerId="ADAL" clId="{49E1EDC4-949C-4C9A-9207-A653EB98B0DF}" dt="2024-11-19T09:17:18.019" v="4767" actId="47"/>
        <pc:sldMkLst>
          <pc:docMk/>
          <pc:sldMk cId="1506585806" sldId="2147476356"/>
        </pc:sldMkLst>
      </pc:sldChg>
      <pc:sldChg chg="add del ord">
        <pc:chgData name="Raphaella ASHRAF" userId="5247841d-d595-4c30-b58a-9906097315c5" providerId="ADAL" clId="{49E1EDC4-949C-4C9A-9207-A653EB98B0DF}" dt="2024-11-19T09:17:18.019" v="4767" actId="47"/>
        <pc:sldMkLst>
          <pc:docMk/>
          <pc:sldMk cId="4131947650" sldId="2147476357"/>
        </pc:sldMkLst>
      </pc:sldChg>
      <pc:sldChg chg="add del ord">
        <pc:chgData name="Raphaella ASHRAF" userId="5247841d-d595-4c30-b58a-9906097315c5" providerId="ADAL" clId="{49E1EDC4-949C-4C9A-9207-A653EB98B0DF}" dt="2024-11-19T09:17:18.019" v="4767" actId="47"/>
        <pc:sldMkLst>
          <pc:docMk/>
          <pc:sldMk cId="3674977290" sldId="2147476358"/>
        </pc:sldMkLst>
      </pc:sldChg>
      <pc:sldChg chg="add del ord">
        <pc:chgData name="Raphaella ASHRAF" userId="5247841d-d595-4c30-b58a-9906097315c5" providerId="ADAL" clId="{49E1EDC4-949C-4C9A-9207-A653EB98B0DF}" dt="2024-11-19T09:17:18.019" v="4767" actId="47"/>
        <pc:sldMkLst>
          <pc:docMk/>
          <pc:sldMk cId="3858064952" sldId="2147476359"/>
        </pc:sldMkLst>
      </pc:sldChg>
      <pc:sldChg chg="add del ord">
        <pc:chgData name="Raphaella ASHRAF" userId="5247841d-d595-4c30-b58a-9906097315c5" providerId="ADAL" clId="{49E1EDC4-949C-4C9A-9207-A653EB98B0DF}" dt="2024-11-19T09:17:18.019" v="4767" actId="47"/>
        <pc:sldMkLst>
          <pc:docMk/>
          <pc:sldMk cId="1310788736" sldId="2147476360"/>
        </pc:sldMkLst>
      </pc:sldChg>
      <pc:sldChg chg="add del ord">
        <pc:chgData name="Raphaella ASHRAF" userId="5247841d-d595-4c30-b58a-9906097315c5" providerId="ADAL" clId="{49E1EDC4-949C-4C9A-9207-A653EB98B0DF}" dt="2024-11-19T09:17:18.019" v="4767" actId="47"/>
        <pc:sldMkLst>
          <pc:docMk/>
          <pc:sldMk cId="2758183402" sldId="2147476361"/>
        </pc:sldMkLst>
      </pc:sldChg>
      <pc:sldChg chg="add del ord">
        <pc:chgData name="Raphaella ASHRAF" userId="5247841d-d595-4c30-b58a-9906097315c5" providerId="ADAL" clId="{49E1EDC4-949C-4C9A-9207-A653EB98B0DF}" dt="2024-11-19T09:17:18.019" v="4767" actId="47"/>
        <pc:sldMkLst>
          <pc:docMk/>
          <pc:sldMk cId="2737289096" sldId="2147476362"/>
        </pc:sldMkLst>
      </pc:sldChg>
      <pc:sldChg chg="add del ord">
        <pc:chgData name="Raphaella ASHRAF" userId="5247841d-d595-4c30-b58a-9906097315c5" providerId="ADAL" clId="{49E1EDC4-949C-4C9A-9207-A653EB98B0DF}" dt="2024-11-19T09:17:18.019" v="4767" actId="47"/>
        <pc:sldMkLst>
          <pc:docMk/>
          <pc:sldMk cId="3270505701" sldId="2147476363"/>
        </pc:sldMkLst>
      </pc:sldChg>
      <pc:sldChg chg="add del ord">
        <pc:chgData name="Raphaella ASHRAF" userId="5247841d-d595-4c30-b58a-9906097315c5" providerId="ADAL" clId="{49E1EDC4-949C-4C9A-9207-A653EB98B0DF}" dt="2024-11-19T09:17:18.019" v="4767" actId="47"/>
        <pc:sldMkLst>
          <pc:docMk/>
          <pc:sldMk cId="795170285" sldId="2147476364"/>
        </pc:sldMkLst>
      </pc:sldChg>
      <pc:sldChg chg="add del ord">
        <pc:chgData name="Raphaella ASHRAF" userId="5247841d-d595-4c30-b58a-9906097315c5" providerId="ADAL" clId="{49E1EDC4-949C-4C9A-9207-A653EB98B0DF}" dt="2024-11-19T09:17:18.019" v="4767" actId="47"/>
        <pc:sldMkLst>
          <pc:docMk/>
          <pc:sldMk cId="2809807863" sldId="2147476365"/>
        </pc:sldMkLst>
      </pc:sldChg>
      <pc:sldChg chg="add del ord">
        <pc:chgData name="Raphaella ASHRAF" userId="5247841d-d595-4c30-b58a-9906097315c5" providerId="ADAL" clId="{49E1EDC4-949C-4C9A-9207-A653EB98B0DF}" dt="2024-11-19T09:17:18.019" v="4767" actId="47"/>
        <pc:sldMkLst>
          <pc:docMk/>
          <pc:sldMk cId="2566640273" sldId="2147476366"/>
        </pc:sldMkLst>
      </pc:sldChg>
      <pc:sldChg chg="add del ord">
        <pc:chgData name="Raphaella ASHRAF" userId="5247841d-d595-4c30-b58a-9906097315c5" providerId="ADAL" clId="{49E1EDC4-949C-4C9A-9207-A653EB98B0DF}" dt="2024-11-19T09:17:18.019" v="4767" actId="47"/>
        <pc:sldMkLst>
          <pc:docMk/>
          <pc:sldMk cId="3990975629" sldId="2147476367"/>
        </pc:sldMkLst>
      </pc:sldChg>
      <pc:sldChg chg="add del ord">
        <pc:chgData name="Raphaella ASHRAF" userId="5247841d-d595-4c30-b58a-9906097315c5" providerId="ADAL" clId="{49E1EDC4-949C-4C9A-9207-A653EB98B0DF}" dt="2024-11-19T09:17:18.019" v="4767" actId="47"/>
        <pc:sldMkLst>
          <pc:docMk/>
          <pc:sldMk cId="75571351" sldId="2147476368"/>
        </pc:sldMkLst>
      </pc:sldChg>
      <pc:sldChg chg="add del ord">
        <pc:chgData name="Raphaella ASHRAF" userId="5247841d-d595-4c30-b58a-9906097315c5" providerId="ADAL" clId="{49E1EDC4-949C-4C9A-9207-A653EB98B0DF}" dt="2024-11-19T09:17:18.019" v="4767" actId="47"/>
        <pc:sldMkLst>
          <pc:docMk/>
          <pc:sldMk cId="1246986883" sldId="2147476369"/>
        </pc:sldMkLst>
      </pc:sldChg>
      <pc:sldChg chg="add del ord">
        <pc:chgData name="Raphaella ASHRAF" userId="5247841d-d595-4c30-b58a-9906097315c5" providerId="ADAL" clId="{49E1EDC4-949C-4C9A-9207-A653EB98B0DF}" dt="2024-11-19T09:17:18.019" v="4767" actId="47"/>
        <pc:sldMkLst>
          <pc:docMk/>
          <pc:sldMk cId="2230091997" sldId="2147476370"/>
        </pc:sldMkLst>
      </pc:sldChg>
      <pc:sldChg chg="add del ord">
        <pc:chgData name="Raphaella ASHRAF" userId="5247841d-d595-4c30-b58a-9906097315c5" providerId="ADAL" clId="{49E1EDC4-949C-4C9A-9207-A653EB98B0DF}" dt="2024-11-19T09:17:18.019" v="4767" actId="47"/>
        <pc:sldMkLst>
          <pc:docMk/>
          <pc:sldMk cId="3330651613" sldId="2147476371"/>
        </pc:sldMkLst>
      </pc:sldChg>
      <pc:sldChg chg="add del ord">
        <pc:chgData name="Raphaella ASHRAF" userId="5247841d-d595-4c30-b58a-9906097315c5" providerId="ADAL" clId="{49E1EDC4-949C-4C9A-9207-A653EB98B0DF}" dt="2024-11-19T09:17:18.019" v="4767" actId="47"/>
        <pc:sldMkLst>
          <pc:docMk/>
          <pc:sldMk cId="3469263348" sldId="2147476372"/>
        </pc:sldMkLst>
      </pc:sldChg>
      <pc:sldChg chg="add del ord">
        <pc:chgData name="Raphaella ASHRAF" userId="5247841d-d595-4c30-b58a-9906097315c5" providerId="ADAL" clId="{49E1EDC4-949C-4C9A-9207-A653EB98B0DF}" dt="2024-11-19T09:17:18.019" v="4767" actId="47"/>
        <pc:sldMkLst>
          <pc:docMk/>
          <pc:sldMk cId="2813427907" sldId="2147476373"/>
        </pc:sldMkLst>
      </pc:sldChg>
      <pc:sldChg chg="add del ord">
        <pc:chgData name="Raphaella ASHRAF" userId="5247841d-d595-4c30-b58a-9906097315c5" providerId="ADAL" clId="{49E1EDC4-949C-4C9A-9207-A653EB98B0DF}" dt="2024-11-19T09:17:18.019" v="4767" actId="47"/>
        <pc:sldMkLst>
          <pc:docMk/>
          <pc:sldMk cId="36867483" sldId="2147476374"/>
        </pc:sldMkLst>
      </pc:sldChg>
      <pc:sldChg chg="add del ord">
        <pc:chgData name="Raphaella ASHRAF" userId="5247841d-d595-4c30-b58a-9906097315c5" providerId="ADAL" clId="{49E1EDC4-949C-4C9A-9207-A653EB98B0DF}" dt="2024-11-19T09:17:18.019" v="4767" actId="47"/>
        <pc:sldMkLst>
          <pc:docMk/>
          <pc:sldMk cId="3975605410" sldId="2147476375"/>
        </pc:sldMkLst>
      </pc:sldChg>
      <pc:sldChg chg="add del ord">
        <pc:chgData name="Raphaella ASHRAF" userId="5247841d-d595-4c30-b58a-9906097315c5" providerId="ADAL" clId="{49E1EDC4-949C-4C9A-9207-A653EB98B0DF}" dt="2024-11-19T09:17:18.019" v="4767" actId="47"/>
        <pc:sldMkLst>
          <pc:docMk/>
          <pc:sldMk cId="4170386432" sldId="2147476376"/>
        </pc:sldMkLst>
      </pc:sldChg>
      <pc:sldChg chg="add del ord">
        <pc:chgData name="Raphaella ASHRAF" userId="5247841d-d595-4c30-b58a-9906097315c5" providerId="ADAL" clId="{49E1EDC4-949C-4C9A-9207-A653EB98B0DF}" dt="2024-11-19T09:17:18.019" v="4767" actId="47"/>
        <pc:sldMkLst>
          <pc:docMk/>
          <pc:sldMk cId="1870592689" sldId="2147476377"/>
        </pc:sldMkLst>
      </pc:sldChg>
      <pc:sldChg chg="add del ord">
        <pc:chgData name="Raphaella ASHRAF" userId="5247841d-d595-4c30-b58a-9906097315c5" providerId="ADAL" clId="{49E1EDC4-949C-4C9A-9207-A653EB98B0DF}" dt="2024-11-19T09:17:18.019" v="4767" actId="47"/>
        <pc:sldMkLst>
          <pc:docMk/>
          <pc:sldMk cId="2592083370" sldId="2147476378"/>
        </pc:sldMkLst>
      </pc:sldChg>
      <pc:sldChg chg="add del ord">
        <pc:chgData name="Raphaella ASHRAF" userId="5247841d-d595-4c30-b58a-9906097315c5" providerId="ADAL" clId="{49E1EDC4-949C-4C9A-9207-A653EB98B0DF}" dt="2024-11-19T09:17:18.019" v="4767" actId="47"/>
        <pc:sldMkLst>
          <pc:docMk/>
          <pc:sldMk cId="3520946679" sldId="2147476379"/>
        </pc:sldMkLst>
      </pc:sldChg>
      <pc:sldChg chg="add del ord">
        <pc:chgData name="Raphaella ASHRAF" userId="5247841d-d595-4c30-b58a-9906097315c5" providerId="ADAL" clId="{49E1EDC4-949C-4C9A-9207-A653EB98B0DF}" dt="2024-11-19T09:17:18.019" v="4767" actId="47"/>
        <pc:sldMkLst>
          <pc:docMk/>
          <pc:sldMk cId="1833499531" sldId="2147476380"/>
        </pc:sldMkLst>
      </pc:sldChg>
      <pc:sldChg chg="add del ord">
        <pc:chgData name="Raphaella ASHRAF" userId="5247841d-d595-4c30-b58a-9906097315c5" providerId="ADAL" clId="{49E1EDC4-949C-4C9A-9207-A653EB98B0DF}" dt="2024-11-19T09:17:18.019" v="4767" actId="47"/>
        <pc:sldMkLst>
          <pc:docMk/>
          <pc:sldMk cId="1319858939" sldId="2147476381"/>
        </pc:sldMkLst>
      </pc:sldChg>
      <pc:sldChg chg="add del ord">
        <pc:chgData name="Raphaella ASHRAF" userId="5247841d-d595-4c30-b58a-9906097315c5" providerId="ADAL" clId="{49E1EDC4-949C-4C9A-9207-A653EB98B0DF}" dt="2024-11-19T09:17:18.019" v="4767" actId="47"/>
        <pc:sldMkLst>
          <pc:docMk/>
          <pc:sldMk cId="321438368" sldId="2147476382"/>
        </pc:sldMkLst>
      </pc:sldChg>
      <pc:sldChg chg="add del ord">
        <pc:chgData name="Raphaella ASHRAF" userId="5247841d-d595-4c30-b58a-9906097315c5" providerId="ADAL" clId="{49E1EDC4-949C-4C9A-9207-A653EB98B0DF}" dt="2024-11-19T09:17:18.019" v="4767" actId="47"/>
        <pc:sldMkLst>
          <pc:docMk/>
          <pc:sldMk cId="3472859426" sldId="2147476383"/>
        </pc:sldMkLst>
      </pc:sldChg>
      <pc:sldChg chg="add del ord">
        <pc:chgData name="Raphaella ASHRAF" userId="5247841d-d595-4c30-b58a-9906097315c5" providerId="ADAL" clId="{49E1EDC4-949C-4C9A-9207-A653EB98B0DF}" dt="2024-11-19T09:17:18.019" v="4767" actId="47"/>
        <pc:sldMkLst>
          <pc:docMk/>
          <pc:sldMk cId="2136381632" sldId="2147476384"/>
        </pc:sldMkLst>
      </pc:sldChg>
      <pc:sldChg chg="add del ord">
        <pc:chgData name="Raphaella ASHRAF" userId="5247841d-d595-4c30-b58a-9906097315c5" providerId="ADAL" clId="{49E1EDC4-949C-4C9A-9207-A653EB98B0DF}" dt="2024-11-19T09:17:18.019" v="4767" actId="47"/>
        <pc:sldMkLst>
          <pc:docMk/>
          <pc:sldMk cId="1141163704" sldId="2147476385"/>
        </pc:sldMkLst>
      </pc:sldChg>
      <pc:sldChg chg="add del ord">
        <pc:chgData name="Raphaella ASHRAF" userId="5247841d-d595-4c30-b58a-9906097315c5" providerId="ADAL" clId="{49E1EDC4-949C-4C9A-9207-A653EB98B0DF}" dt="2024-11-19T09:17:18.019" v="4767" actId="47"/>
        <pc:sldMkLst>
          <pc:docMk/>
          <pc:sldMk cId="3128941898" sldId="2147476386"/>
        </pc:sldMkLst>
      </pc:sldChg>
      <pc:sldChg chg="add del ord">
        <pc:chgData name="Raphaella ASHRAF" userId="5247841d-d595-4c30-b58a-9906097315c5" providerId="ADAL" clId="{49E1EDC4-949C-4C9A-9207-A653EB98B0DF}" dt="2024-11-19T09:17:18.019" v="4767" actId="47"/>
        <pc:sldMkLst>
          <pc:docMk/>
          <pc:sldMk cId="2992112462" sldId="2147476387"/>
        </pc:sldMkLst>
      </pc:sldChg>
      <pc:sldChg chg="add del ord">
        <pc:chgData name="Raphaella ASHRAF" userId="5247841d-d595-4c30-b58a-9906097315c5" providerId="ADAL" clId="{49E1EDC4-949C-4C9A-9207-A653EB98B0DF}" dt="2024-11-19T09:17:18.019" v="4767" actId="47"/>
        <pc:sldMkLst>
          <pc:docMk/>
          <pc:sldMk cId="3589319364" sldId="2147476388"/>
        </pc:sldMkLst>
      </pc:sldChg>
      <pc:sldChg chg="add del ord">
        <pc:chgData name="Raphaella ASHRAF" userId="5247841d-d595-4c30-b58a-9906097315c5" providerId="ADAL" clId="{49E1EDC4-949C-4C9A-9207-A653EB98B0DF}" dt="2024-11-19T09:17:18.019" v="4767" actId="47"/>
        <pc:sldMkLst>
          <pc:docMk/>
          <pc:sldMk cId="2285232786" sldId="2147476389"/>
        </pc:sldMkLst>
      </pc:sldChg>
      <pc:sldChg chg="add del ord">
        <pc:chgData name="Raphaella ASHRAF" userId="5247841d-d595-4c30-b58a-9906097315c5" providerId="ADAL" clId="{49E1EDC4-949C-4C9A-9207-A653EB98B0DF}" dt="2024-11-19T09:17:18.019" v="4767" actId="47"/>
        <pc:sldMkLst>
          <pc:docMk/>
          <pc:sldMk cId="1012215580" sldId="2147476390"/>
        </pc:sldMkLst>
      </pc:sldChg>
      <pc:sldChg chg="add del ord">
        <pc:chgData name="Raphaella ASHRAF" userId="5247841d-d595-4c30-b58a-9906097315c5" providerId="ADAL" clId="{49E1EDC4-949C-4C9A-9207-A653EB98B0DF}" dt="2024-11-19T09:17:18.019" v="4767" actId="47"/>
        <pc:sldMkLst>
          <pc:docMk/>
          <pc:sldMk cId="471262679" sldId="2147476391"/>
        </pc:sldMkLst>
      </pc:sldChg>
      <pc:sldChg chg="add ord">
        <pc:chgData name="Raphaella ASHRAF" userId="5247841d-d595-4c30-b58a-9906097315c5" providerId="ADAL" clId="{49E1EDC4-949C-4C9A-9207-A653EB98B0DF}" dt="2024-11-19T08:52:37.640" v="3680"/>
        <pc:sldMkLst>
          <pc:docMk/>
          <pc:sldMk cId="968678321" sldId="2147476392"/>
        </pc:sldMkLst>
      </pc:sldChg>
      <pc:sldChg chg="add del ord">
        <pc:chgData name="Raphaella ASHRAF" userId="5247841d-d595-4c30-b58a-9906097315c5" providerId="ADAL" clId="{49E1EDC4-949C-4C9A-9207-A653EB98B0DF}" dt="2024-11-19T09:17:18.019" v="4767" actId="47"/>
        <pc:sldMkLst>
          <pc:docMk/>
          <pc:sldMk cId="1619169155" sldId="2147476393"/>
        </pc:sldMkLst>
      </pc:sldChg>
      <pc:sldChg chg="add ord">
        <pc:chgData name="Raphaella ASHRAF" userId="5247841d-d595-4c30-b58a-9906097315c5" providerId="ADAL" clId="{49E1EDC4-949C-4C9A-9207-A653EB98B0DF}" dt="2024-11-19T08:52:38.138" v="3683"/>
        <pc:sldMkLst>
          <pc:docMk/>
          <pc:sldMk cId="2116934726" sldId="2147476393"/>
        </pc:sldMkLst>
      </pc:sldChg>
      <pc:sldChg chg="add ord">
        <pc:chgData name="Raphaella ASHRAF" userId="5247841d-d595-4c30-b58a-9906097315c5" providerId="ADAL" clId="{49E1EDC4-949C-4C9A-9207-A653EB98B0DF}" dt="2024-11-19T08:52:38.508" v="3686"/>
        <pc:sldMkLst>
          <pc:docMk/>
          <pc:sldMk cId="1196261941" sldId="2147476394"/>
        </pc:sldMkLst>
      </pc:sldChg>
      <pc:sldChg chg="add del ord">
        <pc:chgData name="Raphaella ASHRAF" userId="5247841d-d595-4c30-b58a-9906097315c5" providerId="ADAL" clId="{49E1EDC4-949C-4C9A-9207-A653EB98B0DF}" dt="2024-11-19T09:17:18.019" v="4767" actId="47"/>
        <pc:sldMkLst>
          <pc:docMk/>
          <pc:sldMk cId="1340857498" sldId="2147476394"/>
        </pc:sldMkLst>
      </pc:sldChg>
      <pc:sldChg chg="add ord">
        <pc:chgData name="Raphaella ASHRAF" userId="5247841d-d595-4c30-b58a-9906097315c5" providerId="ADAL" clId="{49E1EDC4-949C-4C9A-9207-A653EB98B0DF}" dt="2024-11-19T08:52:38.865" v="3689"/>
        <pc:sldMkLst>
          <pc:docMk/>
          <pc:sldMk cId="1704777688" sldId="2147476395"/>
        </pc:sldMkLst>
      </pc:sldChg>
      <pc:sldChg chg="add del ord">
        <pc:chgData name="Raphaella ASHRAF" userId="5247841d-d595-4c30-b58a-9906097315c5" providerId="ADAL" clId="{49E1EDC4-949C-4C9A-9207-A653EB98B0DF}" dt="2024-11-19T09:17:18.019" v="4767" actId="47"/>
        <pc:sldMkLst>
          <pc:docMk/>
          <pc:sldMk cId="4099945549" sldId="2147476395"/>
        </pc:sldMkLst>
      </pc:sldChg>
      <pc:sldChg chg="add del ord">
        <pc:chgData name="Raphaella ASHRAF" userId="5247841d-d595-4c30-b58a-9906097315c5" providerId="ADAL" clId="{49E1EDC4-949C-4C9A-9207-A653EB98B0DF}" dt="2024-11-19T09:17:18.019" v="4767" actId="47"/>
        <pc:sldMkLst>
          <pc:docMk/>
          <pc:sldMk cId="142532144" sldId="2147476396"/>
        </pc:sldMkLst>
      </pc:sldChg>
      <pc:sldChg chg="add ord">
        <pc:chgData name="Raphaella ASHRAF" userId="5247841d-d595-4c30-b58a-9906097315c5" providerId="ADAL" clId="{49E1EDC4-949C-4C9A-9207-A653EB98B0DF}" dt="2024-11-19T08:52:39.252" v="3692"/>
        <pc:sldMkLst>
          <pc:docMk/>
          <pc:sldMk cId="3302324996" sldId="2147476396"/>
        </pc:sldMkLst>
      </pc:sldChg>
      <pc:sldChg chg="add del ord">
        <pc:chgData name="Raphaella ASHRAF" userId="5247841d-d595-4c30-b58a-9906097315c5" providerId="ADAL" clId="{49E1EDC4-949C-4C9A-9207-A653EB98B0DF}" dt="2024-11-19T09:17:18.019" v="4767" actId="47"/>
        <pc:sldMkLst>
          <pc:docMk/>
          <pc:sldMk cId="1415107260" sldId="2147476397"/>
        </pc:sldMkLst>
      </pc:sldChg>
      <pc:sldChg chg="add ord">
        <pc:chgData name="Raphaella ASHRAF" userId="5247841d-d595-4c30-b58a-9906097315c5" providerId="ADAL" clId="{49E1EDC4-949C-4C9A-9207-A653EB98B0DF}" dt="2024-11-19T08:52:39.606" v="3695"/>
        <pc:sldMkLst>
          <pc:docMk/>
          <pc:sldMk cId="3848079689" sldId="2147476397"/>
        </pc:sldMkLst>
      </pc:sldChg>
      <pc:sldChg chg="add del ord">
        <pc:chgData name="Raphaella ASHRAF" userId="5247841d-d595-4c30-b58a-9906097315c5" providerId="ADAL" clId="{49E1EDC4-949C-4C9A-9207-A653EB98B0DF}" dt="2024-11-19T09:17:18.019" v="4767" actId="47"/>
        <pc:sldMkLst>
          <pc:docMk/>
          <pc:sldMk cId="872890263" sldId="2147476398"/>
        </pc:sldMkLst>
      </pc:sldChg>
      <pc:sldChg chg="add ord">
        <pc:chgData name="Raphaella ASHRAF" userId="5247841d-d595-4c30-b58a-9906097315c5" providerId="ADAL" clId="{49E1EDC4-949C-4C9A-9207-A653EB98B0DF}" dt="2024-11-19T08:52:39.959" v="3698"/>
        <pc:sldMkLst>
          <pc:docMk/>
          <pc:sldMk cId="2834709385" sldId="2147476398"/>
        </pc:sldMkLst>
      </pc:sldChg>
      <pc:sldChg chg="add ord">
        <pc:chgData name="Raphaella ASHRAF" userId="5247841d-d595-4c30-b58a-9906097315c5" providerId="ADAL" clId="{49E1EDC4-949C-4C9A-9207-A653EB98B0DF}" dt="2024-11-19T08:52:40.304" v="3701"/>
        <pc:sldMkLst>
          <pc:docMk/>
          <pc:sldMk cId="289749761" sldId="2147476399"/>
        </pc:sldMkLst>
      </pc:sldChg>
      <pc:sldChg chg="add del ord">
        <pc:chgData name="Raphaella ASHRAF" userId="5247841d-d595-4c30-b58a-9906097315c5" providerId="ADAL" clId="{49E1EDC4-949C-4C9A-9207-A653EB98B0DF}" dt="2024-11-19T09:17:18.019" v="4767" actId="47"/>
        <pc:sldMkLst>
          <pc:docMk/>
          <pc:sldMk cId="1998933450" sldId="2147476399"/>
        </pc:sldMkLst>
      </pc:sldChg>
      <pc:sldChg chg="add ord">
        <pc:chgData name="Raphaella ASHRAF" userId="5247841d-d595-4c30-b58a-9906097315c5" providerId="ADAL" clId="{49E1EDC4-949C-4C9A-9207-A653EB98B0DF}" dt="2024-11-19T08:52:40.667" v="3704"/>
        <pc:sldMkLst>
          <pc:docMk/>
          <pc:sldMk cId="1112777927" sldId="2147476400"/>
        </pc:sldMkLst>
      </pc:sldChg>
      <pc:sldChg chg="add del ord">
        <pc:chgData name="Raphaella ASHRAF" userId="5247841d-d595-4c30-b58a-9906097315c5" providerId="ADAL" clId="{49E1EDC4-949C-4C9A-9207-A653EB98B0DF}" dt="2024-11-19T09:17:18.019" v="4767" actId="47"/>
        <pc:sldMkLst>
          <pc:docMk/>
          <pc:sldMk cId="1124354349" sldId="2147476400"/>
        </pc:sldMkLst>
      </pc:sldChg>
      <pc:sldChg chg="add del ord">
        <pc:chgData name="Raphaella ASHRAF" userId="5247841d-d595-4c30-b58a-9906097315c5" providerId="ADAL" clId="{49E1EDC4-949C-4C9A-9207-A653EB98B0DF}" dt="2024-11-19T09:17:18.019" v="4767" actId="47"/>
        <pc:sldMkLst>
          <pc:docMk/>
          <pc:sldMk cId="3407449755" sldId="2147476401"/>
        </pc:sldMkLst>
      </pc:sldChg>
      <pc:sldChg chg="add ord">
        <pc:chgData name="Raphaella ASHRAF" userId="5247841d-d595-4c30-b58a-9906097315c5" providerId="ADAL" clId="{49E1EDC4-949C-4C9A-9207-A653EB98B0DF}" dt="2024-11-19T08:52:41.023" v="3707"/>
        <pc:sldMkLst>
          <pc:docMk/>
          <pc:sldMk cId="3745654855" sldId="2147476401"/>
        </pc:sldMkLst>
      </pc:sldChg>
      <pc:sldChg chg="add del ord">
        <pc:chgData name="Raphaella ASHRAF" userId="5247841d-d595-4c30-b58a-9906097315c5" providerId="ADAL" clId="{49E1EDC4-949C-4C9A-9207-A653EB98B0DF}" dt="2024-11-19T09:17:18.019" v="4767" actId="47"/>
        <pc:sldMkLst>
          <pc:docMk/>
          <pc:sldMk cId="3058779945" sldId="2147476402"/>
        </pc:sldMkLst>
      </pc:sldChg>
      <pc:sldChg chg="add ord">
        <pc:chgData name="Raphaella ASHRAF" userId="5247841d-d595-4c30-b58a-9906097315c5" providerId="ADAL" clId="{49E1EDC4-949C-4C9A-9207-A653EB98B0DF}" dt="2024-11-19T08:52:41.382" v="3710"/>
        <pc:sldMkLst>
          <pc:docMk/>
          <pc:sldMk cId="3362863241" sldId="2147476402"/>
        </pc:sldMkLst>
      </pc:sldChg>
      <pc:sldChg chg="add del ord">
        <pc:chgData name="Raphaella ASHRAF" userId="5247841d-d595-4c30-b58a-9906097315c5" providerId="ADAL" clId="{49E1EDC4-949C-4C9A-9207-A653EB98B0DF}" dt="2024-11-19T09:17:18.019" v="4767" actId="47"/>
        <pc:sldMkLst>
          <pc:docMk/>
          <pc:sldMk cId="997440203" sldId="2147476403"/>
        </pc:sldMkLst>
      </pc:sldChg>
      <pc:sldChg chg="add ord">
        <pc:chgData name="Raphaella ASHRAF" userId="5247841d-d595-4c30-b58a-9906097315c5" providerId="ADAL" clId="{49E1EDC4-949C-4C9A-9207-A653EB98B0DF}" dt="2024-11-19T08:52:41.742" v="3713"/>
        <pc:sldMkLst>
          <pc:docMk/>
          <pc:sldMk cId="1791289547" sldId="2147476403"/>
        </pc:sldMkLst>
      </pc:sldChg>
      <pc:sldChg chg="add del ord">
        <pc:chgData name="Raphaella ASHRAF" userId="5247841d-d595-4c30-b58a-9906097315c5" providerId="ADAL" clId="{49E1EDC4-949C-4C9A-9207-A653EB98B0DF}" dt="2024-11-19T09:17:18.019" v="4767" actId="47"/>
        <pc:sldMkLst>
          <pc:docMk/>
          <pc:sldMk cId="212423489" sldId="2147476404"/>
        </pc:sldMkLst>
      </pc:sldChg>
      <pc:sldChg chg="add ord">
        <pc:chgData name="Raphaella ASHRAF" userId="5247841d-d595-4c30-b58a-9906097315c5" providerId="ADAL" clId="{49E1EDC4-949C-4C9A-9207-A653EB98B0DF}" dt="2024-11-19T08:52:42.108" v="3716"/>
        <pc:sldMkLst>
          <pc:docMk/>
          <pc:sldMk cId="3531139711" sldId="2147476404"/>
        </pc:sldMkLst>
      </pc:sldChg>
      <pc:sldChg chg="add ord">
        <pc:chgData name="Raphaella ASHRAF" userId="5247841d-d595-4c30-b58a-9906097315c5" providerId="ADAL" clId="{49E1EDC4-949C-4C9A-9207-A653EB98B0DF}" dt="2024-11-19T08:52:42.466" v="3719"/>
        <pc:sldMkLst>
          <pc:docMk/>
          <pc:sldMk cId="469663297" sldId="2147476405"/>
        </pc:sldMkLst>
      </pc:sldChg>
      <pc:sldChg chg="add del ord">
        <pc:chgData name="Raphaella ASHRAF" userId="5247841d-d595-4c30-b58a-9906097315c5" providerId="ADAL" clId="{49E1EDC4-949C-4C9A-9207-A653EB98B0DF}" dt="2024-11-19T09:17:18.019" v="4767" actId="47"/>
        <pc:sldMkLst>
          <pc:docMk/>
          <pc:sldMk cId="1009772912" sldId="2147476405"/>
        </pc:sldMkLst>
      </pc:sldChg>
      <pc:sldChg chg="add ord">
        <pc:chgData name="Raphaella ASHRAF" userId="5247841d-d595-4c30-b58a-9906097315c5" providerId="ADAL" clId="{49E1EDC4-949C-4C9A-9207-A653EB98B0DF}" dt="2024-11-19T08:52:42.836" v="3722"/>
        <pc:sldMkLst>
          <pc:docMk/>
          <pc:sldMk cId="1538088255" sldId="2147476406"/>
        </pc:sldMkLst>
      </pc:sldChg>
      <pc:sldChg chg="add del ord">
        <pc:chgData name="Raphaella ASHRAF" userId="5247841d-d595-4c30-b58a-9906097315c5" providerId="ADAL" clId="{49E1EDC4-949C-4C9A-9207-A653EB98B0DF}" dt="2024-11-19T09:17:18.019" v="4767" actId="47"/>
        <pc:sldMkLst>
          <pc:docMk/>
          <pc:sldMk cId="2074444114" sldId="2147476406"/>
        </pc:sldMkLst>
      </pc:sldChg>
      <pc:sldChg chg="add del ord">
        <pc:chgData name="Raphaella ASHRAF" userId="5247841d-d595-4c30-b58a-9906097315c5" providerId="ADAL" clId="{49E1EDC4-949C-4C9A-9207-A653EB98B0DF}" dt="2024-11-19T09:17:18.019" v="4767" actId="47"/>
        <pc:sldMkLst>
          <pc:docMk/>
          <pc:sldMk cId="3448937246" sldId="2147476407"/>
        </pc:sldMkLst>
      </pc:sldChg>
      <pc:sldChg chg="add ord">
        <pc:chgData name="Raphaella ASHRAF" userId="5247841d-d595-4c30-b58a-9906097315c5" providerId="ADAL" clId="{49E1EDC4-949C-4C9A-9207-A653EB98B0DF}" dt="2024-11-19T08:52:43.298" v="3725"/>
        <pc:sldMkLst>
          <pc:docMk/>
          <pc:sldMk cId="3807860528" sldId="2147476407"/>
        </pc:sldMkLst>
      </pc:sldChg>
      <pc:sldChg chg="add ord">
        <pc:chgData name="Raphaella ASHRAF" userId="5247841d-d595-4c30-b58a-9906097315c5" providerId="ADAL" clId="{49E1EDC4-949C-4C9A-9207-A653EB98B0DF}" dt="2024-11-19T08:52:43.695" v="3728"/>
        <pc:sldMkLst>
          <pc:docMk/>
          <pc:sldMk cId="1038987855" sldId="2147476408"/>
        </pc:sldMkLst>
      </pc:sldChg>
      <pc:sldChg chg="add del ord">
        <pc:chgData name="Raphaella ASHRAF" userId="5247841d-d595-4c30-b58a-9906097315c5" providerId="ADAL" clId="{49E1EDC4-949C-4C9A-9207-A653EB98B0DF}" dt="2024-11-19T09:17:18.019" v="4767" actId="47"/>
        <pc:sldMkLst>
          <pc:docMk/>
          <pc:sldMk cId="2894989931" sldId="2147476408"/>
        </pc:sldMkLst>
      </pc:sldChg>
      <pc:sldChg chg="add del ord">
        <pc:chgData name="Raphaella ASHRAF" userId="5247841d-d595-4c30-b58a-9906097315c5" providerId="ADAL" clId="{49E1EDC4-949C-4C9A-9207-A653EB98B0DF}" dt="2024-11-19T09:17:18.019" v="4767" actId="47"/>
        <pc:sldMkLst>
          <pc:docMk/>
          <pc:sldMk cId="2364447188" sldId="2147476409"/>
        </pc:sldMkLst>
      </pc:sldChg>
      <pc:sldChg chg="add del ord">
        <pc:chgData name="Raphaella ASHRAF" userId="5247841d-d595-4c30-b58a-9906097315c5" providerId="ADAL" clId="{49E1EDC4-949C-4C9A-9207-A653EB98B0DF}" dt="2024-11-19T09:17:18.019" v="4767" actId="47"/>
        <pc:sldMkLst>
          <pc:docMk/>
          <pc:sldMk cId="633416342" sldId="2147476410"/>
        </pc:sldMkLst>
      </pc:sldChg>
      <pc:sldChg chg="add del ord">
        <pc:chgData name="Raphaella ASHRAF" userId="5247841d-d595-4c30-b58a-9906097315c5" providerId="ADAL" clId="{49E1EDC4-949C-4C9A-9207-A653EB98B0DF}" dt="2024-11-19T09:17:18.019" v="4767" actId="47"/>
        <pc:sldMkLst>
          <pc:docMk/>
          <pc:sldMk cId="3990930001" sldId="2147476411"/>
        </pc:sldMkLst>
      </pc:sldChg>
      <pc:sldChg chg="add del ord">
        <pc:chgData name="Raphaella ASHRAF" userId="5247841d-d595-4c30-b58a-9906097315c5" providerId="ADAL" clId="{49E1EDC4-949C-4C9A-9207-A653EB98B0DF}" dt="2024-11-19T09:17:18.019" v="4767" actId="47"/>
        <pc:sldMkLst>
          <pc:docMk/>
          <pc:sldMk cId="2837100518" sldId="2147476412"/>
        </pc:sldMkLst>
      </pc:sldChg>
      <pc:sldChg chg="add del ord">
        <pc:chgData name="Raphaella ASHRAF" userId="5247841d-d595-4c30-b58a-9906097315c5" providerId="ADAL" clId="{49E1EDC4-949C-4C9A-9207-A653EB98B0DF}" dt="2024-11-19T09:17:18.019" v="4767" actId="47"/>
        <pc:sldMkLst>
          <pc:docMk/>
          <pc:sldMk cId="1118040172" sldId="2147476413"/>
        </pc:sldMkLst>
      </pc:sldChg>
      <pc:sldChg chg="add del ord">
        <pc:chgData name="Raphaella ASHRAF" userId="5247841d-d595-4c30-b58a-9906097315c5" providerId="ADAL" clId="{49E1EDC4-949C-4C9A-9207-A653EB98B0DF}" dt="2024-11-19T09:17:18.019" v="4767" actId="47"/>
        <pc:sldMkLst>
          <pc:docMk/>
          <pc:sldMk cId="3765785407" sldId="2147476414"/>
        </pc:sldMkLst>
      </pc:sldChg>
      <pc:sldChg chg="add del ord">
        <pc:chgData name="Raphaella ASHRAF" userId="5247841d-d595-4c30-b58a-9906097315c5" providerId="ADAL" clId="{49E1EDC4-949C-4C9A-9207-A653EB98B0DF}" dt="2024-11-19T09:17:18.019" v="4767" actId="47"/>
        <pc:sldMkLst>
          <pc:docMk/>
          <pc:sldMk cId="3932353640" sldId="2147476415"/>
        </pc:sldMkLst>
      </pc:sldChg>
      <pc:sldChg chg="add del ord">
        <pc:chgData name="Raphaella ASHRAF" userId="5247841d-d595-4c30-b58a-9906097315c5" providerId="ADAL" clId="{49E1EDC4-949C-4C9A-9207-A653EB98B0DF}" dt="2024-11-19T09:17:18.019" v="4767" actId="47"/>
        <pc:sldMkLst>
          <pc:docMk/>
          <pc:sldMk cId="2078501120" sldId="2147476416"/>
        </pc:sldMkLst>
      </pc:sldChg>
      <pc:sldChg chg="add del ord">
        <pc:chgData name="Raphaella ASHRAF" userId="5247841d-d595-4c30-b58a-9906097315c5" providerId="ADAL" clId="{49E1EDC4-949C-4C9A-9207-A653EB98B0DF}" dt="2024-11-19T09:17:18.019" v="4767" actId="47"/>
        <pc:sldMkLst>
          <pc:docMk/>
          <pc:sldMk cId="639177528" sldId="2147476417"/>
        </pc:sldMkLst>
      </pc:sldChg>
      <pc:sldChg chg="add del ord">
        <pc:chgData name="Raphaella ASHRAF" userId="5247841d-d595-4c30-b58a-9906097315c5" providerId="ADAL" clId="{49E1EDC4-949C-4C9A-9207-A653EB98B0DF}" dt="2024-11-19T09:17:18.019" v="4767" actId="47"/>
        <pc:sldMkLst>
          <pc:docMk/>
          <pc:sldMk cId="1673889551" sldId="2147476418"/>
        </pc:sldMkLst>
      </pc:sldChg>
      <pc:sldChg chg="add del ord">
        <pc:chgData name="Raphaella ASHRAF" userId="5247841d-d595-4c30-b58a-9906097315c5" providerId="ADAL" clId="{49E1EDC4-949C-4C9A-9207-A653EB98B0DF}" dt="2024-11-19T09:17:18.019" v="4767" actId="47"/>
        <pc:sldMkLst>
          <pc:docMk/>
          <pc:sldMk cId="785143142" sldId="2147476419"/>
        </pc:sldMkLst>
      </pc:sldChg>
      <pc:sldChg chg="add del ord">
        <pc:chgData name="Raphaella ASHRAF" userId="5247841d-d595-4c30-b58a-9906097315c5" providerId="ADAL" clId="{49E1EDC4-949C-4C9A-9207-A653EB98B0DF}" dt="2024-11-19T09:17:18.019" v="4767" actId="47"/>
        <pc:sldMkLst>
          <pc:docMk/>
          <pc:sldMk cId="575116805" sldId="2147476420"/>
        </pc:sldMkLst>
      </pc:sldChg>
      <pc:sldChg chg="add del ord">
        <pc:chgData name="Raphaella ASHRAF" userId="5247841d-d595-4c30-b58a-9906097315c5" providerId="ADAL" clId="{49E1EDC4-949C-4C9A-9207-A653EB98B0DF}" dt="2024-11-19T09:17:18.019" v="4767" actId="47"/>
        <pc:sldMkLst>
          <pc:docMk/>
          <pc:sldMk cId="1300853012" sldId="2147476421"/>
        </pc:sldMkLst>
      </pc:sldChg>
      <pc:sldChg chg="add del ord">
        <pc:chgData name="Raphaella ASHRAF" userId="5247841d-d595-4c30-b58a-9906097315c5" providerId="ADAL" clId="{49E1EDC4-949C-4C9A-9207-A653EB98B0DF}" dt="2024-11-19T09:17:18.019" v="4767" actId="47"/>
        <pc:sldMkLst>
          <pc:docMk/>
          <pc:sldMk cId="1984139597" sldId="2147476422"/>
        </pc:sldMkLst>
      </pc:sldChg>
      <pc:sldChg chg="add del ord">
        <pc:chgData name="Raphaella ASHRAF" userId="5247841d-d595-4c30-b58a-9906097315c5" providerId="ADAL" clId="{49E1EDC4-949C-4C9A-9207-A653EB98B0DF}" dt="2024-11-19T09:17:18.019" v="4767" actId="47"/>
        <pc:sldMkLst>
          <pc:docMk/>
          <pc:sldMk cId="2840950880" sldId="2147476423"/>
        </pc:sldMkLst>
      </pc:sldChg>
      <pc:sldChg chg="add del ord">
        <pc:chgData name="Raphaella ASHRAF" userId="5247841d-d595-4c30-b58a-9906097315c5" providerId="ADAL" clId="{49E1EDC4-949C-4C9A-9207-A653EB98B0DF}" dt="2024-11-19T09:17:18.019" v="4767" actId="47"/>
        <pc:sldMkLst>
          <pc:docMk/>
          <pc:sldMk cId="1974442057" sldId="2147476424"/>
        </pc:sldMkLst>
      </pc:sldChg>
      <pc:sldChg chg="add del ord">
        <pc:chgData name="Raphaella ASHRAF" userId="5247841d-d595-4c30-b58a-9906097315c5" providerId="ADAL" clId="{49E1EDC4-949C-4C9A-9207-A653EB98B0DF}" dt="2024-11-19T09:17:18.019" v="4767" actId="47"/>
        <pc:sldMkLst>
          <pc:docMk/>
          <pc:sldMk cId="1144687228" sldId="2147476425"/>
        </pc:sldMkLst>
      </pc:sldChg>
      <pc:sldChg chg="add del ord">
        <pc:chgData name="Raphaella ASHRAF" userId="5247841d-d595-4c30-b58a-9906097315c5" providerId="ADAL" clId="{49E1EDC4-949C-4C9A-9207-A653EB98B0DF}" dt="2024-11-19T09:17:18.019" v="4767" actId="47"/>
        <pc:sldMkLst>
          <pc:docMk/>
          <pc:sldMk cId="2975973321" sldId="2147476426"/>
        </pc:sldMkLst>
      </pc:sldChg>
      <pc:sldChg chg="add del ord">
        <pc:chgData name="Raphaella ASHRAF" userId="5247841d-d595-4c30-b58a-9906097315c5" providerId="ADAL" clId="{49E1EDC4-949C-4C9A-9207-A653EB98B0DF}" dt="2024-11-19T09:17:18.019" v="4767" actId="47"/>
        <pc:sldMkLst>
          <pc:docMk/>
          <pc:sldMk cId="2813883242" sldId="2147476427"/>
        </pc:sldMkLst>
      </pc:sldChg>
      <pc:sldChg chg="add del ord">
        <pc:chgData name="Raphaella ASHRAF" userId="5247841d-d595-4c30-b58a-9906097315c5" providerId="ADAL" clId="{49E1EDC4-949C-4C9A-9207-A653EB98B0DF}" dt="2024-11-19T09:17:18.019" v="4767" actId="47"/>
        <pc:sldMkLst>
          <pc:docMk/>
          <pc:sldMk cId="1191243317" sldId="2147476428"/>
        </pc:sldMkLst>
      </pc:sldChg>
      <pc:sldChg chg="add del ord">
        <pc:chgData name="Raphaella ASHRAF" userId="5247841d-d595-4c30-b58a-9906097315c5" providerId="ADAL" clId="{49E1EDC4-949C-4C9A-9207-A653EB98B0DF}" dt="2024-11-19T09:17:18.019" v="4767" actId="47"/>
        <pc:sldMkLst>
          <pc:docMk/>
          <pc:sldMk cId="701019699" sldId="2147476429"/>
        </pc:sldMkLst>
      </pc:sldChg>
      <pc:sldChg chg="add del ord">
        <pc:chgData name="Raphaella ASHRAF" userId="5247841d-d595-4c30-b58a-9906097315c5" providerId="ADAL" clId="{49E1EDC4-949C-4C9A-9207-A653EB98B0DF}" dt="2024-11-19T09:17:18.019" v="4767" actId="47"/>
        <pc:sldMkLst>
          <pc:docMk/>
          <pc:sldMk cId="3780721850" sldId="2147476430"/>
        </pc:sldMkLst>
      </pc:sldChg>
      <pc:sldChg chg="add del ord">
        <pc:chgData name="Raphaella ASHRAF" userId="5247841d-d595-4c30-b58a-9906097315c5" providerId="ADAL" clId="{49E1EDC4-949C-4C9A-9207-A653EB98B0DF}" dt="2024-11-19T09:17:18.019" v="4767" actId="47"/>
        <pc:sldMkLst>
          <pc:docMk/>
          <pc:sldMk cId="1462838720" sldId="2147476431"/>
        </pc:sldMkLst>
      </pc:sldChg>
      <pc:sldChg chg="add del ord">
        <pc:chgData name="Raphaella ASHRAF" userId="5247841d-d595-4c30-b58a-9906097315c5" providerId="ADAL" clId="{49E1EDC4-949C-4C9A-9207-A653EB98B0DF}" dt="2024-11-19T09:17:18.019" v="4767" actId="47"/>
        <pc:sldMkLst>
          <pc:docMk/>
          <pc:sldMk cId="1583159261" sldId="2147476432"/>
        </pc:sldMkLst>
      </pc:sldChg>
      <pc:sldChg chg="add del ord">
        <pc:chgData name="Raphaella ASHRAF" userId="5247841d-d595-4c30-b58a-9906097315c5" providerId="ADAL" clId="{49E1EDC4-949C-4C9A-9207-A653EB98B0DF}" dt="2024-11-19T09:17:18.019" v="4767" actId="47"/>
        <pc:sldMkLst>
          <pc:docMk/>
          <pc:sldMk cId="2840395485" sldId="2147476433"/>
        </pc:sldMkLst>
      </pc:sldChg>
      <pc:sldChg chg="add del ord">
        <pc:chgData name="Raphaella ASHRAF" userId="5247841d-d595-4c30-b58a-9906097315c5" providerId="ADAL" clId="{49E1EDC4-949C-4C9A-9207-A653EB98B0DF}" dt="2024-11-19T09:17:18.019" v="4767" actId="47"/>
        <pc:sldMkLst>
          <pc:docMk/>
          <pc:sldMk cId="3353891370" sldId="2147476434"/>
        </pc:sldMkLst>
      </pc:sldChg>
      <pc:sldChg chg="add del ord">
        <pc:chgData name="Raphaella ASHRAF" userId="5247841d-d595-4c30-b58a-9906097315c5" providerId="ADAL" clId="{49E1EDC4-949C-4C9A-9207-A653EB98B0DF}" dt="2024-11-19T09:17:18.019" v="4767" actId="47"/>
        <pc:sldMkLst>
          <pc:docMk/>
          <pc:sldMk cId="1404394756" sldId="2147476435"/>
        </pc:sldMkLst>
      </pc:sldChg>
      <pc:sldChg chg="add del ord">
        <pc:chgData name="Raphaella ASHRAF" userId="5247841d-d595-4c30-b58a-9906097315c5" providerId="ADAL" clId="{49E1EDC4-949C-4C9A-9207-A653EB98B0DF}" dt="2024-11-19T09:17:18.019" v="4767" actId="47"/>
        <pc:sldMkLst>
          <pc:docMk/>
          <pc:sldMk cId="1332242025" sldId="2147476436"/>
        </pc:sldMkLst>
      </pc:sldChg>
      <pc:sldChg chg="add del ord">
        <pc:chgData name="Raphaella ASHRAF" userId="5247841d-d595-4c30-b58a-9906097315c5" providerId="ADAL" clId="{49E1EDC4-949C-4C9A-9207-A653EB98B0DF}" dt="2024-11-19T09:17:18.019" v="4767" actId="47"/>
        <pc:sldMkLst>
          <pc:docMk/>
          <pc:sldMk cId="2765056311" sldId="2147476437"/>
        </pc:sldMkLst>
      </pc:sldChg>
      <pc:sldChg chg="add del ord">
        <pc:chgData name="Raphaella ASHRAF" userId="5247841d-d595-4c30-b58a-9906097315c5" providerId="ADAL" clId="{49E1EDC4-949C-4C9A-9207-A653EB98B0DF}" dt="2024-11-19T09:17:18.019" v="4767" actId="47"/>
        <pc:sldMkLst>
          <pc:docMk/>
          <pc:sldMk cId="3877758302" sldId="2147476438"/>
        </pc:sldMkLst>
      </pc:sldChg>
      <pc:sldChg chg="add del ord">
        <pc:chgData name="Raphaella ASHRAF" userId="5247841d-d595-4c30-b58a-9906097315c5" providerId="ADAL" clId="{49E1EDC4-949C-4C9A-9207-A653EB98B0DF}" dt="2024-11-19T09:17:18.019" v="4767" actId="47"/>
        <pc:sldMkLst>
          <pc:docMk/>
          <pc:sldMk cId="3842821471" sldId="2147476439"/>
        </pc:sldMkLst>
      </pc:sldChg>
      <pc:sldChg chg="add del ord">
        <pc:chgData name="Raphaella ASHRAF" userId="5247841d-d595-4c30-b58a-9906097315c5" providerId="ADAL" clId="{49E1EDC4-949C-4C9A-9207-A653EB98B0DF}" dt="2024-11-19T09:17:18.019" v="4767" actId="47"/>
        <pc:sldMkLst>
          <pc:docMk/>
          <pc:sldMk cId="1866515959" sldId="2147476440"/>
        </pc:sldMkLst>
      </pc:sldChg>
      <pc:sldChg chg="add del ord">
        <pc:chgData name="Raphaella ASHRAF" userId="5247841d-d595-4c30-b58a-9906097315c5" providerId="ADAL" clId="{49E1EDC4-949C-4C9A-9207-A653EB98B0DF}" dt="2024-11-19T09:17:18.019" v="4767" actId="47"/>
        <pc:sldMkLst>
          <pc:docMk/>
          <pc:sldMk cId="1387164157" sldId="2147476441"/>
        </pc:sldMkLst>
      </pc:sldChg>
      <pc:sldChg chg="add del ord">
        <pc:chgData name="Raphaella ASHRAF" userId="5247841d-d595-4c30-b58a-9906097315c5" providerId="ADAL" clId="{49E1EDC4-949C-4C9A-9207-A653EB98B0DF}" dt="2024-11-19T09:17:18.019" v="4767" actId="47"/>
        <pc:sldMkLst>
          <pc:docMk/>
          <pc:sldMk cId="113242157" sldId="2147476442"/>
        </pc:sldMkLst>
      </pc:sldChg>
      <pc:sldChg chg="add del ord">
        <pc:chgData name="Raphaella ASHRAF" userId="5247841d-d595-4c30-b58a-9906097315c5" providerId="ADAL" clId="{49E1EDC4-949C-4C9A-9207-A653EB98B0DF}" dt="2024-11-19T09:17:18.019" v="4767" actId="47"/>
        <pc:sldMkLst>
          <pc:docMk/>
          <pc:sldMk cId="2788369582" sldId="2147476443"/>
        </pc:sldMkLst>
      </pc:sldChg>
      <pc:sldChg chg="add del ord">
        <pc:chgData name="Raphaella ASHRAF" userId="5247841d-d595-4c30-b58a-9906097315c5" providerId="ADAL" clId="{49E1EDC4-949C-4C9A-9207-A653EB98B0DF}" dt="2024-11-19T09:17:18.019" v="4767" actId="47"/>
        <pc:sldMkLst>
          <pc:docMk/>
          <pc:sldMk cId="4227709550" sldId="2147476444"/>
        </pc:sldMkLst>
      </pc:sldChg>
      <pc:sldChg chg="add del ord">
        <pc:chgData name="Raphaella ASHRAF" userId="5247841d-d595-4c30-b58a-9906097315c5" providerId="ADAL" clId="{49E1EDC4-949C-4C9A-9207-A653EB98B0DF}" dt="2024-11-19T09:17:18.019" v="4767" actId="47"/>
        <pc:sldMkLst>
          <pc:docMk/>
          <pc:sldMk cId="3072960114" sldId="2147476445"/>
        </pc:sldMkLst>
      </pc:sldChg>
      <pc:sldChg chg="add del ord">
        <pc:chgData name="Raphaella ASHRAF" userId="5247841d-d595-4c30-b58a-9906097315c5" providerId="ADAL" clId="{49E1EDC4-949C-4C9A-9207-A653EB98B0DF}" dt="2024-11-19T09:17:18.019" v="4767" actId="47"/>
        <pc:sldMkLst>
          <pc:docMk/>
          <pc:sldMk cId="1224778715" sldId="2147476446"/>
        </pc:sldMkLst>
      </pc:sldChg>
      <pc:sldChg chg="add del ord">
        <pc:chgData name="Raphaella ASHRAF" userId="5247841d-d595-4c30-b58a-9906097315c5" providerId="ADAL" clId="{49E1EDC4-949C-4C9A-9207-A653EB98B0DF}" dt="2024-11-19T09:17:18.019" v="4767" actId="47"/>
        <pc:sldMkLst>
          <pc:docMk/>
          <pc:sldMk cId="1950116358" sldId="2147476447"/>
        </pc:sldMkLst>
      </pc:sldChg>
      <pc:sldChg chg="add del ord">
        <pc:chgData name="Raphaella ASHRAF" userId="5247841d-d595-4c30-b58a-9906097315c5" providerId="ADAL" clId="{49E1EDC4-949C-4C9A-9207-A653EB98B0DF}" dt="2024-11-19T09:17:18.019" v="4767" actId="47"/>
        <pc:sldMkLst>
          <pc:docMk/>
          <pc:sldMk cId="1896855515" sldId="2147476448"/>
        </pc:sldMkLst>
      </pc:sldChg>
      <pc:sldChg chg="add del ord">
        <pc:chgData name="Raphaella ASHRAF" userId="5247841d-d595-4c30-b58a-9906097315c5" providerId="ADAL" clId="{49E1EDC4-949C-4C9A-9207-A653EB98B0DF}" dt="2024-11-19T09:17:18.019" v="4767" actId="47"/>
        <pc:sldMkLst>
          <pc:docMk/>
          <pc:sldMk cId="2945976558" sldId="2147476449"/>
        </pc:sldMkLst>
      </pc:sldChg>
      <pc:sldChg chg="add del ord">
        <pc:chgData name="Raphaella ASHRAF" userId="5247841d-d595-4c30-b58a-9906097315c5" providerId="ADAL" clId="{49E1EDC4-949C-4C9A-9207-A653EB98B0DF}" dt="2024-11-19T09:17:18.019" v="4767" actId="47"/>
        <pc:sldMkLst>
          <pc:docMk/>
          <pc:sldMk cId="2342517589" sldId="2147476450"/>
        </pc:sldMkLst>
      </pc:sldChg>
      <pc:sldChg chg="add del ord">
        <pc:chgData name="Raphaella ASHRAF" userId="5247841d-d595-4c30-b58a-9906097315c5" providerId="ADAL" clId="{49E1EDC4-949C-4C9A-9207-A653EB98B0DF}" dt="2024-11-19T09:17:18.019" v="4767" actId="47"/>
        <pc:sldMkLst>
          <pc:docMk/>
          <pc:sldMk cId="3867328805" sldId="2147476451"/>
        </pc:sldMkLst>
      </pc:sldChg>
      <pc:sldChg chg="add del ord">
        <pc:chgData name="Raphaella ASHRAF" userId="5247841d-d595-4c30-b58a-9906097315c5" providerId="ADAL" clId="{49E1EDC4-949C-4C9A-9207-A653EB98B0DF}" dt="2024-11-19T09:17:18.019" v="4767" actId="47"/>
        <pc:sldMkLst>
          <pc:docMk/>
          <pc:sldMk cId="568952778" sldId="2147476452"/>
        </pc:sldMkLst>
      </pc:sldChg>
      <pc:sldChg chg="add del ord">
        <pc:chgData name="Raphaella ASHRAF" userId="5247841d-d595-4c30-b58a-9906097315c5" providerId="ADAL" clId="{49E1EDC4-949C-4C9A-9207-A653EB98B0DF}" dt="2024-11-19T09:17:18.019" v="4767" actId="47"/>
        <pc:sldMkLst>
          <pc:docMk/>
          <pc:sldMk cId="1971377304" sldId="2147476453"/>
        </pc:sldMkLst>
      </pc:sldChg>
      <pc:sldChg chg="add del ord">
        <pc:chgData name="Raphaella ASHRAF" userId="5247841d-d595-4c30-b58a-9906097315c5" providerId="ADAL" clId="{49E1EDC4-949C-4C9A-9207-A653EB98B0DF}" dt="2024-11-19T09:17:18.019" v="4767" actId="47"/>
        <pc:sldMkLst>
          <pc:docMk/>
          <pc:sldMk cId="2310044248" sldId="2147476454"/>
        </pc:sldMkLst>
      </pc:sldChg>
      <pc:sldChg chg="add del ord">
        <pc:chgData name="Raphaella ASHRAF" userId="5247841d-d595-4c30-b58a-9906097315c5" providerId="ADAL" clId="{49E1EDC4-949C-4C9A-9207-A653EB98B0DF}" dt="2024-11-19T09:17:18.019" v="4767" actId="47"/>
        <pc:sldMkLst>
          <pc:docMk/>
          <pc:sldMk cId="4058782336" sldId="2147476455"/>
        </pc:sldMkLst>
      </pc:sldChg>
      <pc:sldChg chg="add del ord">
        <pc:chgData name="Raphaella ASHRAF" userId="5247841d-d595-4c30-b58a-9906097315c5" providerId="ADAL" clId="{49E1EDC4-949C-4C9A-9207-A653EB98B0DF}" dt="2024-11-19T09:17:18.019" v="4767" actId="47"/>
        <pc:sldMkLst>
          <pc:docMk/>
          <pc:sldMk cId="1302901620" sldId="2147476456"/>
        </pc:sldMkLst>
      </pc:sldChg>
      <pc:sldChg chg="add del ord">
        <pc:chgData name="Raphaella ASHRAF" userId="5247841d-d595-4c30-b58a-9906097315c5" providerId="ADAL" clId="{49E1EDC4-949C-4C9A-9207-A653EB98B0DF}" dt="2024-11-19T09:17:18.019" v="4767" actId="47"/>
        <pc:sldMkLst>
          <pc:docMk/>
          <pc:sldMk cId="681353145" sldId="2147476457"/>
        </pc:sldMkLst>
      </pc:sldChg>
      <pc:sldChg chg="add del ord">
        <pc:chgData name="Raphaella ASHRAF" userId="5247841d-d595-4c30-b58a-9906097315c5" providerId="ADAL" clId="{49E1EDC4-949C-4C9A-9207-A653EB98B0DF}" dt="2024-11-19T09:17:18.019" v="4767" actId="47"/>
        <pc:sldMkLst>
          <pc:docMk/>
          <pc:sldMk cId="2123744169" sldId="2147476458"/>
        </pc:sldMkLst>
      </pc:sldChg>
      <pc:sldChg chg="add del ord">
        <pc:chgData name="Raphaella ASHRAF" userId="5247841d-d595-4c30-b58a-9906097315c5" providerId="ADAL" clId="{49E1EDC4-949C-4C9A-9207-A653EB98B0DF}" dt="2024-11-19T09:17:18.019" v="4767" actId="47"/>
        <pc:sldMkLst>
          <pc:docMk/>
          <pc:sldMk cId="3926645358" sldId="2147476459"/>
        </pc:sldMkLst>
      </pc:sldChg>
      <pc:sldChg chg="add del ord">
        <pc:chgData name="Raphaella ASHRAF" userId="5247841d-d595-4c30-b58a-9906097315c5" providerId="ADAL" clId="{49E1EDC4-949C-4C9A-9207-A653EB98B0DF}" dt="2024-11-19T09:17:18.019" v="4767" actId="47"/>
        <pc:sldMkLst>
          <pc:docMk/>
          <pc:sldMk cId="852745527" sldId="2147476460"/>
        </pc:sldMkLst>
      </pc:sldChg>
      <pc:sldChg chg="add del ord">
        <pc:chgData name="Raphaella ASHRAF" userId="5247841d-d595-4c30-b58a-9906097315c5" providerId="ADAL" clId="{49E1EDC4-949C-4C9A-9207-A653EB98B0DF}" dt="2024-11-19T09:17:18.019" v="4767" actId="47"/>
        <pc:sldMkLst>
          <pc:docMk/>
          <pc:sldMk cId="1852360464" sldId="2147476461"/>
        </pc:sldMkLst>
      </pc:sldChg>
      <pc:sldChg chg="add del ord">
        <pc:chgData name="Raphaella ASHRAF" userId="5247841d-d595-4c30-b58a-9906097315c5" providerId="ADAL" clId="{49E1EDC4-949C-4C9A-9207-A653EB98B0DF}" dt="2024-11-19T09:17:18.019" v="4767" actId="47"/>
        <pc:sldMkLst>
          <pc:docMk/>
          <pc:sldMk cId="730775545" sldId="2147476462"/>
        </pc:sldMkLst>
      </pc:sldChg>
      <pc:sldChg chg="add del ord">
        <pc:chgData name="Raphaella ASHRAF" userId="5247841d-d595-4c30-b58a-9906097315c5" providerId="ADAL" clId="{49E1EDC4-949C-4C9A-9207-A653EB98B0DF}" dt="2024-11-19T09:17:18.019" v="4767" actId="47"/>
        <pc:sldMkLst>
          <pc:docMk/>
          <pc:sldMk cId="1104952613" sldId="2147476463"/>
        </pc:sldMkLst>
      </pc:sldChg>
      <pc:sldChg chg="add del ord">
        <pc:chgData name="Raphaella ASHRAF" userId="5247841d-d595-4c30-b58a-9906097315c5" providerId="ADAL" clId="{49E1EDC4-949C-4C9A-9207-A653EB98B0DF}" dt="2024-11-19T09:17:18.019" v="4767" actId="47"/>
        <pc:sldMkLst>
          <pc:docMk/>
          <pc:sldMk cId="3497083530" sldId="2147476464"/>
        </pc:sldMkLst>
      </pc:sldChg>
      <pc:sldChg chg="add del ord">
        <pc:chgData name="Raphaella ASHRAF" userId="5247841d-d595-4c30-b58a-9906097315c5" providerId="ADAL" clId="{49E1EDC4-949C-4C9A-9207-A653EB98B0DF}" dt="2024-11-19T09:17:18.019" v="4767" actId="47"/>
        <pc:sldMkLst>
          <pc:docMk/>
          <pc:sldMk cId="1868655382" sldId="2147476465"/>
        </pc:sldMkLst>
      </pc:sldChg>
      <pc:sldChg chg="add del ord">
        <pc:chgData name="Raphaella ASHRAF" userId="5247841d-d595-4c30-b58a-9906097315c5" providerId="ADAL" clId="{49E1EDC4-949C-4C9A-9207-A653EB98B0DF}" dt="2024-11-19T09:17:18.019" v="4767" actId="47"/>
        <pc:sldMkLst>
          <pc:docMk/>
          <pc:sldMk cId="3634125895" sldId="2147476466"/>
        </pc:sldMkLst>
      </pc:sldChg>
      <pc:sldChg chg="add del ord">
        <pc:chgData name="Raphaella ASHRAF" userId="5247841d-d595-4c30-b58a-9906097315c5" providerId="ADAL" clId="{49E1EDC4-949C-4C9A-9207-A653EB98B0DF}" dt="2024-11-19T09:17:18.019" v="4767" actId="47"/>
        <pc:sldMkLst>
          <pc:docMk/>
          <pc:sldMk cId="977921829" sldId="2147476467"/>
        </pc:sldMkLst>
      </pc:sldChg>
      <pc:sldChg chg="add del ord">
        <pc:chgData name="Raphaella ASHRAF" userId="5247841d-d595-4c30-b58a-9906097315c5" providerId="ADAL" clId="{49E1EDC4-949C-4C9A-9207-A653EB98B0DF}" dt="2024-11-19T09:17:18.019" v="4767" actId="47"/>
        <pc:sldMkLst>
          <pc:docMk/>
          <pc:sldMk cId="617818670" sldId="2147476468"/>
        </pc:sldMkLst>
      </pc:sldChg>
      <pc:sldChg chg="add del ord">
        <pc:chgData name="Raphaella ASHRAF" userId="5247841d-d595-4c30-b58a-9906097315c5" providerId="ADAL" clId="{49E1EDC4-949C-4C9A-9207-A653EB98B0DF}" dt="2024-11-19T09:17:18.019" v="4767" actId="47"/>
        <pc:sldMkLst>
          <pc:docMk/>
          <pc:sldMk cId="4214121834" sldId="2147476469"/>
        </pc:sldMkLst>
      </pc:sldChg>
      <pc:sldChg chg="add del ord">
        <pc:chgData name="Raphaella ASHRAF" userId="5247841d-d595-4c30-b58a-9906097315c5" providerId="ADAL" clId="{49E1EDC4-949C-4C9A-9207-A653EB98B0DF}" dt="2024-11-19T09:17:18.019" v="4767" actId="47"/>
        <pc:sldMkLst>
          <pc:docMk/>
          <pc:sldMk cId="676081916" sldId="2147476470"/>
        </pc:sldMkLst>
      </pc:sldChg>
      <pc:sldChg chg="add del ord">
        <pc:chgData name="Raphaella ASHRAF" userId="5247841d-d595-4c30-b58a-9906097315c5" providerId="ADAL" clId="{49E1EDC4-949C-4C9A-9207-A653EB98B0DF}" dt="2024-11-19T09:17:18.019" v="4767" actId="47"/>
        <pc:sldMkLst>
          <pc:docMk/>
          <pc:sldMk cId="101350063" sldId="2147476471"/>
        </pc:sldMkLst>
      </pc:sldChg>
      <pc:sldChg chg="add del ord">
        <pc:chgData name="Raphaella ASHRAF" userId="5247841d-d595-4c30-b58a-9906097315c5" providerId="ADAL" clId="{49E1EDC4-949C-4C9A-9207-A653EB98B0DF}" dt="2024-11-19T09:17:18.019" v="4767" actId="47"/>
        <pc:sldMkLst>
          <pc:docMk/>
          <pc:sldMk cId="3255700359" sldId="2147476472"/>
        </pc:sldMkLst>
      </pc:sldChg>
      <pc:sldChg chg="add del ord">
        <pc:chgData name="Raphaella ASHRAF" userId="5247841d-d595-4c30-b58a-9906097315c5" providerId="ADAL" clId="{49E1EDC4-949C-4C9A-9207-A653EB98B0DF}" dt="2024-11-19T09:17:18.019" v="4767" actId="47"/>
        <pc:sldMkLst>
          <pc:docMk/>
          <pc:sldMk cId="1210215767" sldId="2147476473"/>
        </pc:sldMkLst>
      </pc:sldChg>
      <pc:sldChg chg="add del ord">
        <pc:chgData name="Raphaella ASHRAF" userId="5247841d-d595-4c30-b58a-9906097315c5" providerId="ADAL" clId="{49E1EDC4-949C-4C9A-9207-A653EB98B0DF}" dt="2024-11-19T09:17:18.019" v="4767" actId="47"/>
        <pc:sldMkLst>
          <pc:docMk/>
          <pc:sldMk cId="3151266639" sldId="2147476474"/>
        </pc:sldMkLst>
      </pc:sldChg>
      <pc:sldChg chg="add del ord">
        <pc:chgData name="Raphaella ASHRAF" userId="5247841d-d595-4c30-b58a-9906097315c5" providerId="ADAL" clId="{49E1EDC4-949C-4C9A-9207-A653EB98B0DF}" dt="2024-11-19T09:17:18.019" v="4767" actId="47"/>
        <pc:sldMkLst>
          <pc:docMk/>
          <pc:sldMk cId="1633465525" sldId="2147476475"/>
        </pc:sldMkLst>
      </pc:sldChg>
      <pc:sldChg chg="add del ord">
        <pc:chgData name="Raphaella ASHRAF" userId="5247841d-d595-4c30-b58a-9906097315c5" providerId="ADAL" clId="{49E1EDC4-949C-4C9A-9207-A653EB98B0DF}" dt="2024-11-19T09:17:18.019" v="4767" actId="47"/>
        <pc:sldMkLst>
          <pc:docMk/>
          <pc:sldMk cId="2904147192" sldId="2147476476"/>
        </pc:sldMkLst>
      </pc:sldChg>
      <pc:sldChg chg="add del ord">
        <pc:chgData name="Raphaella ASHRAF" userId="5247841d-d595-4c30-b58a-9906097315c5" providerId="ADAL" clId="{49E1EDC4-949C-4C9A-9207-A653EB98B0DF}" dt="2024-11-19T09:17:18.019" v="4767" actId="47"/>
        <pc:sldMkLst>
          <pc:docMk/>
          <pc:sldMk cId="2217182663" sldId="2147476477"/>
        </pc:sldMkLst>
      </pc:sldChg>
      <pc:sldChg chg="add del ord">
        <pc:chgData name="Raphaella ASHRAF" userId="5247841d-d595-4c30-b58a-9906097315c5" providerId="ADAL" clId="{49E1EDC4-949C-4C9A-9207-A653EB98B0DF}" dt="2024-11-19T09:17:18.019" v="4767" actId="47"/>
        <pc:sldMkLst>
          <pc:docMk/>
          <pc:sldMk cId="1802261405" sldId="2147476478"/>
        </pc:sldMkLst>
      </pc:sldChg>
      <pc:sldChg chg="add del ord">
        <pc:chgData name="Raphaella ASHRAF" userId="5247841d-d595-4c30-b58a-9906097315c5" providerId="ADAL" clId="{49E1EDC4-949C-4C9A-9207-A653EB98B0DF}" dt="2024-11-19T09:17:18.019" v="4767" actId="47"/>
        <pc:sldMkLst>
          <pc:docMk/>
          <pc:sldMk cId="3378524000" sldId="2147476479"/>
        </pc:sldMkLst>
      </pc:sldChg>
      <pc:sldChg chg="add del ord">
        <pc:chgData name="Raphaella ASHRAF" userId="5247841d-d595-4c30-b58a-9906097315c5" providerId="ADAL" clId="{49E1EDC4-949C-4C9A-9207-A653EB98B0DF}" dt="2024-11-19T09:17:18.019" v="4767" actId="47"/>
        <pc:sldMkLst>
          <pc:docMk/>
          <pc:sldMk cId="9193488" sldId="2147476480"/>
        </pc:sldMkLst>
      </pc:sldChg>
      <pc:sldChg chg="add del ord">
        <pc:chgData name="Raphaella ASHRAF" userId="5247841d-d595-4c30-b58a-9906097315c5" providerId="ADAL" clId="{49E1EDC4-949C-4C9A-9207-A653EB98B0DF}" dt="2024-11-19T09:17:18.019" v="4767" actId="47"/>
        <pc:sldMkLst>
          <pc:docMk/>
          <pc:sldMk cId="2784982535" sldId="2147476481"/>
        </pc:sldMkLst>
      </pc:sldChg>
      <pc:sldChg chg="add del ord">
        <pc:chgData name="Raphaella ASHRAF" userId="5247841d-d595-4c30-b58a-9906097315c5" providerId="ADAL" clId="{49E1EDC4-949C-4C9A-9207-A653EB98B0DF}" dt="2024-11-19T09:17:18.019" v="4767" actId="47"/>
        <pc:sldMkLst>
          <pc:docMk/>
          <pc:sldMk cId="4112837303" sldId="2147476482"/>
        </pc:sldMkLst>
      </pc:sldChg>
      <pc:sldChg chg="add del ord">
        <pc:chgData name="Raphaella ASHRAF" userId="5247841d-d595-4c30-b58a-9906097315c5" providerId="ADAL" clId="{49E1EDC4-949C-4C9A-9207-A653EB98B0DF}" dt="2024-11-19T09:17:18.019" v="4767" actId="47"/>
        <pc:sldMkLst>
          <pc:docMk/>
          <pc:sldMk cId="3575721122" sldId="2147476483"/>
        </pc:sldMkLst>
      </pc:sldChg>
      <pc:sldChg chg="add del ord">
        <pc:chgData name="Raphaella ASHRAF" userId="5247841d-d595-4c30-b58a-9906097315c5" providerId="ADAL" clId="{49E1EDC4-949C-4C9A-9207-A653EB98B0DF}" dt="2024-11-19T09:17:18.019" v="4767" actId="47"/>
        <pc:sldMkLst>
          <pc:docMk/>
          <pc:sldMk cId="4269637834" sldId="2147476484"/>
        </pc:sldMkLst>
      </pc:sldChg>
      <pc:sldChg chg="add del ord">
        <pc:chgData name="Raphaella ASHRAF" userId="5247841d-d595-4c30-b58a-9906097315c5" providerId="ADAL" clId="{49E1EDC4-949C-4C9A-9207-A653EB98B0DF}" dt="2024-11-19T09:17:18.019" v="4767" actId="47"/>
        <pc:sldMkLst>
          <pc:docMk/>
          <pc:sldMk cId="415595914" sldId="2147476485"/>
        </pc:sldMkLst>
      </pc:sldChg>
      <pc:sldChg chg="add del ord">
        <pc:chgData name="Raphaella ASHRAF" userId="5247841d-d595-4c30-b58a-9906097315c5" providerId="ADAL" clId="{49E1EDC4-949C-4C9A-9207-A653EB98B0DF}" dt="2024-11-19T09:17:18.019" v="4767" actId="47"/>
        <pc:sldMkLst>
          <pc:docMk/>
          <pc:sldMk cId="287350042" sldId="2147476486"/>
        </pc:sldMkLst>
      </pc:sldChg>
      <pc:sldChg chg="add del ord">
        <pc:chgData name="Raphaella ASHRAF" userId="5247841d-d595-4c30-b58a-9906097315c5" providerId="ADAL" clId="{49E1EDC4-949C-4C9A-9207-A653EB98B0DF}" dt="2024-11-19T09:17:18.019" v="4767" actId="47"/>
        <pc:sldMkLst>
          <pc:docMk/>
          <pc:sldMk cId="4113668423" sldId="2147476487"/>
        </pc:sldMkLst>
      </pc:sldChg>
      <pc:sldChg chg="add del ord">
        <pc:chgData name="Raphaella ASHRAF" userId="5247841d-d595-4c30-b58a-9906097315c5" providerId="ADAL" clId="{49E1EDC4-949C-4C9A-9207-A653EB98B0DF}" dt="2024-11-19T09:17:18.019" v="4767" actId="47"/>
        <pc:sldMkLst>
          <pc:docMk/>
          <pc:sldMk cId="1459489031" sldId="2147476488"/>
        </pc:sldMkLst>
      </pc:sldChg>
      <pc:sldChg chg="add del ord">
        <pc:chgData name="Raphaella ASHRAF" userId="5247841d-d595-4c30-b58a-9906097315c5" providerId="ADAL" clId="{49E1EDC4-949C-4C9A-9207-A653EB98B0DF}" dt="2024-11-19T09:17:18.019" v="4767" actId="47"/>
        <pc:sldMkLst>
          <pc:docMk/>
          <pc:sldMk cId="2313296917" sldId="2147476489"/>
        </pc:sldMkLst>
      </pc:sldChg>
      <pc:sldChg chg="add del ord">
        <pc:chgData name="Raphaella ASHRAF" userId="5247841d-d595-4c30-b58a-9906097315c5" providerId="ADAL" clId="{49E1EDC4-949C-4C9A-9207-A653EB98B0DF}" dt="2024-11-19T09:17:18.019" v="4767" actId="47"/>
        <pc:sldMkLst>
          <pc:docMk/>
          <pc:sldMk cId="702243753" sldId="2147476490"/>
        </pc:sldMkLst>
      </pc:sldChg>
      <pc:sldChg chg="add del ord">
        <pc:chgData name="Raphaella ASHRAF" userId="5247841d-d595-4c30-b58a-9906097315c5" providerId="ADAL" clId="{49E1EDC4-949C-4C9A-9207-A653EB98B0DF}" dt="2024-11-19T09:17:18.019" v="4767" actId="47"/>
        <pc:sldMkLst>
          <pc:docMk/>
          <pc:sldMk cId="2866731944" sldId="2147476491"/>
        </pc:sldMkLst>
      </pc:sldChg>
      <pc:sldChg chg="add del ord">
        <pc:chgData name="Raphaella ASHRAF" userId="5247841d-d595-4c30-b58a-9906097315c5" providerId="ADAL" clId="{49E1EDC4-949C-4C9A-9207-A653EB98B0DF}" dt="2024-11-19T09:17:18.019" v="4767" actId="47"/>
        <pc:sldMkLst>
          <pc:docMk/>
          <pc:sldMk cId="1243263968" sldId="2147476492"/>
        </pc:sldMkLst>
      </pc:sldChg>
      <pc:sldChg chg="add del ord">
        <pc:chgData name="Raphaella ASHRAF" userId="5247841d-d595-4c30-b58a-9906097315c5" providerId="ADAL" clId="{49E1EDC4-949C-4C9A-9207-A653EB98B0DF}" dt="2024-11-19T09:17:18.019" v="4767" actId="47"/>
        <pc:sldMkLst>
          <pc:docMk/>
          <pc:sldMk cId="229330847" sldId="2147476493"/>
        </pc:sldMkLst>
      </pc:sldChg>
      <pc:sldChg chg="add del ord">
        <pc:chgData name="Raphaella ASHRAF" userId="5247841d-d595-4c30-b58a-9906097315c5" providerId="ADAL" clId="{49E1EDC4-949C-4C9A-9207-A653EB98B0DF}" dt="2024-11-19T09:17:18.019" v="4767" actId="47"/>
        <pc:sldMkLst>
          <pc:docMk/>
          <pc:sldMk cId="1016492906" sldId="2147476494"/>
        </pc:sldMkLst>
      </pc:sldChg>
      <pc:sldChg chg="add del ord">
        <pc:chgData name="Raphaella ASHRAF" userId="5247841d-d595-4c30-b58a-9906097315c5" providerId="ADAL" clId="{49E1EDC4-949C-4C9A-9207-A653EB98B0DF}" dt="2024-11-19T09:17:18.019" v="4767" actId="47"/>
        <pc:sldMkLst>
          <pc:docMk/>
          <pc:sldMk cId="2134730751" sldId="2147476495"/>
        </pc:sldMkLst>
      </pc:sldChg>
      <pc:sldChg chg="add del ord">
        <pc:chgData name="Raphaella ASHRAF" userId="5247841d-d595-4c30-b58a-9906097315c5" providerId="ADAL" clId="{49E1EDC4-949C-4C9A-9207-A653EB98B0DF}" dt="2024-11-19T09:17:18.019" v="4767" actId="47"/>
        <pc:sldMkLst>
          <pc:docMk/>
          <pc:sldMk cId="1454539218" sldId="2147476496"/>
        </pc:sldMkLst>
      </pc:sldChg>
      <pc:sldChg chg="add del ord">
        <pc:chgData name="Raphaella ASHRAF" userId="5247841d-d595-4c30-b58a-9906097315c5" providerId="ADAL" clId="{49E1EDC4-949C-4C9A-9207-A653EB98B0DF}" dt="2024-11-19T09:17:18.019" v="4767" actId="47"/>
        <pc:sldMkLst>
          <pc:docMk/>
          <pc:sldMk cId="785773969" sldId="2147476497"/>
        </pc:sldMkLst>
      </pc:sldChg>
      <pc:sldChg chg="add del ord">
        <pc:chgData name="Raphaella ASHRAF" userId="5247841d-d595-4c30-b58a-9906097315c5" providerId="ADAL" clId="{49E1EDC4-949C-4C9A-9207-A653EB98B0DF}" dt="2024-11-19T09:17:18.019" v="4767" actId="47"/>
        <pc:sldMkLst>
          <pc:docMk/>
          <pc:sldMk cId="2436369056" sldId="2147476498"/>
        </pc:sldMkLst>
      </pc:sldChg>
      <pc:sldChg chg="add del ord">
        <pc:chgData name="Raphaella ASHRAF" userId="5247841d-d595-4c30-b58a-9906097315c5" providerId="ADAL" clId="{49E1EDC4-949C-4C9A-9207-A653EB98B0DF}" dt="2024-11-19T09:17:18.019" v="4767" actId="47"/>
        <pc:sldMkLst>
          <pc:docMk/>
          <pc:sldMk cId="378619334" sldId="2147476499"/>
        </pc:sldMkLst>
      </pc:sldChg>
      <pc:sldChg chg="add del ord">
        <pc:chgData name="Raphaella ASHRAF" userId="5247841d-d595-4c30-b58a-9906097315c5" providerId="ADAL" clId="{49E1EDC4-949C-4C9A-9207-A653EB98B0DF}" dt="2024-11-19T09:17:18.019" v="4767" actId="47"/>
        <pc:sldMkLst>
          <pc:docMk/>
          <pc:sldMk cId="2646180975" sldId="2147476500"/>
        </pc:sldMkLst>
      </pc:sldChg>
      <pc:sldChg chg="add del ord">
        <pc:chgData name="Raphaella ASHRAF" userId="5247841d-d595-4c30-b58a-9906097315c5" providerId="ADAL" clId="{49E1EDC4-949C-4C9A-9207-A653EB98B0DF}" dt="2024-11-19T09:17:18.019" v="4767" actId="47"/>
        <pc:sldMkLst>
          <pc:docMk/>
          <pc:sldMk cId="1956829317" sldId="2147476501"/>
        </pc:sldMkLst>
      </pc:sldChg>
      <pc:sldChg chg="add del ord">
        <pc:chgData name="Raphaella ASHRAF" userId="5247841d-d595-4c30-b58a-9906097315c5" providerId="ADAL" clId="{49E1EDC4-949C-4C9A-9207-A653EB98B0DF}" dt="2024-11-19T09:17:18.019" v="4767" actId="47"/>
        <pc:sldMkLst>
          <pc:docMk/>
          <pc:sldMk cId="1218581881" sldId="2147476502"/>
        </pc:sldMkLst>
      </pc:sldChg>
      <pc:sldChg chg="add del ord">
        <pc:chgData name="Raphaella ASHRAF" userId="5247841d-d595-4c30-b58a-9906097315c5" providerId="ADAL" clId="{49E1EDC4-949C-4C9A-9207-A653EB98B0DF}" dt="2024-11-19T09:17:18.019" v="4767" actId="47"/>
        <pc:sldMkLst>
          <pc:docMk/>
          <pc:sldMk cId="1345044158" sldId="2147476503"/>
        </pc:sldMkLst>
      </pc:sldChg>
      <pc:sldChg chg="add del ord">
        <pc:chgData name="Raphaella ASHRAF" userId="5247841d-d595-4c30-b58a-9906097315c5" providerId="ADAL" clId="{49E1EDC4-949C-4C9A-9207-A653EB98B0DF}" dt="2024-11-19T09:17:18.019" v="4767" actId="47"/>
        <pc:sldMkLst>
          <pc:docMk/>
          <pc:sldMk cId="409354809" sldId="2147476504"/>
        </pc:sldMkLst>
      </pc:sldChg>
      <pc:sldChg chg="add del ord">
        <pc:chgData name="Raphaella ASHRAF" userId="5247841d-d595-4c30-b58a-9906097315c5" providerId="ADAL" clId="{49E1EDC4-949C-4C9A-9207-A653EB98B0DF}" dt="2024-11-19T09:17:18.019" v="4767" actId="47"/>
        <pc:sldMkLst>
          <pc:docMk/>
          <pc:sldMk cId="2535100934" sldId="2147476505"/>
        </pc:sldMkLst>
      </pc:sldChg>
      <pc:sldChg chg="add del ord">
        <pc:chgData name="Raphaella ASHRAF" userId="5247841d-d595-4c30-b58a-9906097315c5" providerId="ADAL" clId="{49E1EDC4-949C-4C9A-9207-A653EB98B0DF}" dt="2024-11-19T09:17:18.019" v="4767" actId="47"/>
        <pc:sldMkLst>
          <pc:docMk/>
          <pc:sldMk cId="1844139511" sldId="2147476506"/>
        </pc:sldMkLst>
      </pc:sldChg>
      <pc:sldChg chg="add del ord">
        <pc:chgData name="Raphaella ASHRAF" userId="5247841d-d595-4c30-b58a-9906097315c5" providerId="ADAL" clId="{49E1EDC4-949C-4C9A-9207-A653EB98B0DF}" dt="2024-11-19T09:17:18.019" v="4767" actId="47"/>
        <pc:sldMkLst>
          <pc:docMk/>
          <pc:sldMk cId="4186092462" sldId="2147476507"/>
        </pc:sldMkLst>
      </pc:sldChg>
      <pc:sldChg chg="add del ord">
        <pc:chgData name="Raphaella ASHRAF" userId="5247841d-d595-4c30-b58a-9906097315c5" providerId="ADAL" clId="{49E1EDC4-949C-4C9A-9207-A653EB98B0DF}" dt="2024-11-19T09:17:18.019" v="4767" actId="47"/>
        <pc:sldMkLst>
          <pc:docMk/>
          <pc:sldMk cId="720105449" sldId="2147476508"/>
        </pc:sldMkLst>
      </pc:sldChg>
      <pc:sldChg chg="add del ord">
        <pc:chgData name="Raphaella ASHRAF" userId="5247841d-d595-4c30-b58a-9906097315c5" providerId="ADAL" clId="{49E1EDC4-949C-4C9A-9207-A653EB98B0DF}" dt="2024-11-19T09:17:18.019" v="4767" actId="47"/>
        <pc:sldMkLst>
          <pc:docMk/>
          <pc:sldMk cId="1299263779" sldId="2147476509"/>
        </pc:sldMkLst>
      </pc:sldChg>
      <pc:sldChg chg="add del ord">
        <pc:chgData name="Raphaella ASHRAF" userId="5247841d-d595-4c30-b58a-9906097315c5" providerId="ADAL" clId="{49E1EDC4-949C-4C9A-9207-A653EB98B0DF}" dt="2024-11-19T09:17:18.019" v="4767" actId="47"/>
        <pc:sldMkLst>
          <pc:docMk/>
          <pc:sldMk cId="2069542904" sldId="2147476510"/>
        </pc:sldMkLst>
      </pc:sldChg>
      <pc:sldChg chg="add del ord">
        <pc:chgData name="Raphaella ASHRAF" userId="5247841d-d595-4c30-b58a-9906097315c5" providerId="ADAL" clId="{49E1EDC4-949C-4C9A-9207-A653EB98B0DF}" dt="2024-11-19T09:17:18.019" v="4767" actId="47"/>
        <pc:sldMkLst>
          <pc:docMk/>
          <pc:sldMk cId="2115505195" sldId="2147476511"/>
        </pc:sldMkLst>
      </pc:sldChg>
      <pc:sldChg chg="add del ord">
        <pc:chgData name="Raphaella ASHRAF" userId="5247841d-d595-4c30-b58a-9906097315c5" providerId="ADAL" clId="{49E1EDC4-949C-4C9A-9207-A653EB98B0DF}" dt="2024-11-19T09:17:18.019" v="4767" actId="47"/>
        <pc:sldMkLst>
          <pc:docMk/>
          <pc:sldMk cId="3030713101" sldId="2147476512"/>
        </pc:sldMkLst>
      </pc:sldChg>
      <pc:sldChg chg="add del ord">
        <pc:chgData name="Raphaella ASHRAF" userId="5247841d-d595-4c30-b58a-9906097315c5" providerId="ADAL" clId="{49E1EDC4-949C-4C9A-9207-A653EB98B0DF}" dt="2024-11-19T09:17:18.019" v="4767" actId="47"/>
        <pc:sldMkLst>
          <pc:docMk/>
          <pc:sldMk cId="4144256359" sldId="2147476513"/>
        </pc:sldMkLst>
      </pc:sldChg>
      <pc:sldChg chg="add del ord">
        <pc:chgData name="Raphaella ASHRAF" userId="5247841d-d595-4c30-b58a-9906097315c5" providerId="ADAL" clId="{49E1EDC4-949C-4C9A-9207-A653EB98B0DF}" dt="2024-11-19T09:17:18.019" v="4767" actId="47"/>
        <pc:sldMkLst>
          <pc:docMk/>
          <pc:sldMk cId="607134964" sldId="2147476514"/>
        </pc:sldMkLst>
      </pc:sldChg>
      <pc:sldChg chg="add del ord">
        <pc:chgData name="Raphaella ASHRAF" userId="5247841d-d595-4c30-b58a-9906097315c5" providerId="ADAL" clId="{49E1EDC4-949C-4C9A-9207-A653EB98B0DF}" dt="2024-11-19T09:17:18.019" v="4767" actId="47"/>
        <pc:sldMkLst>
          <pc:docMk/>
          <pc:sldMk cId="4293335267" sldId="2147476515"/>
        </pc:sldMkLst>
      </pc:sldChg>
      <pc:sldChg chg="add del ord">
        <pc:chgData name="Raphaella ASHRAF" userId="5247841d-d595-4c30-b58a-9906097315c5" providerId="ADAL" clId="{49E1EDC4-949C-4C9A-9207-A653EB98B0DF}" dt="2024-11-19T09:17:18.019" v="4767" actId="47"/>
        <pc:sldMkLst>
          <pc:docMk/>
          <pc:sldMk cId="2805336978" sldId="2147476516"/>
        </pc:sldMkLst>
      </pc:sldChg>
      <pc:sldChg chg="add del ord">
        <pc:chgData name="Raphaella ASHRAF" userId="5247841d-d595-4c30-b58a-9906097315c5" providerId="ADAL" clId="{49E1EDC4-949C-4C9A-9207-A653EB98B0DF}" dt="2024-11-19T09:17:18.019" v="4767" actId="47"/>
        <pc:sldMkLst>
          <pc:docMk/>
          <pc:sldMk cId="2782087283" sldId="2147476517"/>
        </pc:sldMkLst>
      </pc:sldChg>
      <pc:sldChg chg="add del ord">
        <pc:chgData name="Raphaella ASHRAF" userId="5247841d-d595-4c30-b58a-9906097315c5" providerId="ADAL" clId="{49E1EDC4-949C-4C9A-9207-A653EB98B0DF}" dt="2024-11-19T09:17:18.019" v="4767" actId="47"/>
        <pc:sldMkLst>
          <pc:docMk/>
          <pc:sldMk cId="4121521885" sldId="2147476518"/>
        </pc:sldMkLst>
      </pc:sldChg>
      <pc:sldChg chg="add del ord">
        <pc:chgData name="Raphaella ASHRAF" userId="5247841d-d595-4c30-b58a-9906097315c5" providerId="ADAL" clId="{49E1EDC4-949C-4C9A-9207-A653EB98B0DF}" dt="2024-11-19T09:17:18.019" v="4767" actId="47"/>
        <pc:sldMkLst>
          <pc:docMk/>
          <pc:sldMk cId="1751591067" sldId="2147476519"/>
        </pc:sldMkLst>
      </pc:sldChg>
      <pc:sldChg chg="add del ord">
        <pc:chgData name="Raphaella ASHRAF" userId="5247841d-d595-4c30-b58a-9906097315c5" providerId="ADAL" clId="{49E1EDC4-949C-4C9A-9207-A653EB98B0DF}" dt="2024-11-19T09:17:18.019" v="4767" actId="47"/>
        <pc:sldMkLst>
          <pc:docMk/>
          <pc:sldMk cId="400854388" sldId="2147476520"/>
        </pc:sldMkLst>
      </pc:sldChg>
      <pc:sldChg chg="add del ord">
        <pc:chgData name="Raphaella ASHRAF" userId="5247841d-d595-4c30-b58a-9906097315c5" providerId="ADAL" clId="{49E1EDC4-949C-4C9A-9207-A653EB98B0DF}" dt="2024-11-19T09:17:18.019" v="4767" actId="47"/>
        <pc:sldMkLst>
          <pc:docMk/>
          <pc:sldMk cId="2371426623" sldId="2147476521"/>
        </pc:sldMkLst>
      </pc:sldChg>
      <pc:sldChg chg="add del ord">
        <pc:chgData name="Raphaella ASHRAF" userId="5247841d-d595-4c30-b58a-9906097315c5" providerId="ADAL" clId="{49E1EDC4-949C-4C9A-9207-A653EB98B0DF}" dt="2024-11-19T09:17:18.019" v="4767" actId="47"/>
        <pc:sldMkLst>
          <pc:docMk/>
          <pc:sldMk cId="2532130426" sldId="2147476522"/>
        </pc:sldMkLst>
      </pc:sldChg>
      <pc:sldChg chg="add del ord">
        <pc:chgData name="Raphaella ASHRAF" userId="5247841d-d595-4c30-b58a-9906097315c5" providerId="ADAL" clId="{49E1EDC4-949C-4C9A-9207-A653EB98B0DF}" dt="2024-11-19T09:17:18.019" v="4767" actId="47"/>
        <pc:sldMkLst>
          <pc:docMk/>
          <pc:sldMk cId="1430095178" sldId="2147476523"/>
        </pc:sldMkLst>
      </pc:sldChg>
      <pc:sldChg chg="add del ord">
        <pc:chgData name="Raphaella ASHRAF" userId="5247841d-d595-4c30-b58a-9906097315c5" providerId="ADAL" clId="{49E1EDC4-949C-4C9A-9207-A653EB98B0DF}" dt="2024-11-19T09:17:18.019" v="4767" actId="47"/>
        <pc:sldMkLst>
          <pc:docMk/>
          <pc:sldMk cId="1464221978" sldId="2147476524"/>
        </pc:sldMkLst>
      </pc:sldChg>
      <pc:sldChg chg="add del ord">
        <pc:chgData name="Raphaella ASHRAF" userId="5247841d-d595-4c30-b58a-9906097315c5" providerId="ADAL" clId="{49E1EDC4-949C-4C9A-9207-A653EB98B0DF}" dt="2024-11-19T09:17:18.019" v="4767" actId="47"/>
        <pc:sldMkLst>
          <pc:docMk/>
          <pc:sldMk cId="1105806583" sldId="2147476525"/>
        </pc:sldMkLst>
      </pc:sldChg>
      <pc:sldChg chg="add del ord">
        <pc:chgData name="Raphaella ASHRAF" userId="5247841d-d595-4c30-b58a-9906097315c5" providerId="ADAL" clId="{49E1EDC4-949C-4C9A-9207-A653EB98B0DF}" dt="2024-11-19T09:17:18.019" v="4767" actId="47"/>
        <pc:sldMkLst>
          <pc:docMk/>
          <pc:sldMk cId="3399757672" sldId="2147476526"/>
        </pc:sldMkLst>
      </pc:sldChg>
      <pc:sldChg chg="add del ord">
        <pc:chgData name="Raphaella ASHRAF" userId="5247841d-d595-4c30-b58a-9906097315c5" providerId="ADAL" clId="{49E1EDC4-949C-4C9A-9207-A653EB98B0DF}" dt="2024-11-19T09:17:18.019" v="4767" actId="47"/>
        <pc:sldMkLst>
          <pc:docMk/>
          <pc:sldMk cId="2387871382" sldId="2147476527"/>
        </pc:sldMkLst>
      </pc:sldChg>
      <pc:sldChg chg="add del ord">
        <pc:chgData name="Raphaella ASHRAF" userId="5247841d-d595-4c30-b58a-9906097315c5" providerId="ADAL" clId="{49E1EDC4-949C-4C9A-9207-A653EB98B0DF}" dt="2024-11-19T09:17:18.019" v="4767" actId="47"/>
        <pc:sldMkLst>
          <pc:docMk/>
          <pc:sldMk cId="2923135845" sldId="2147476528"/>
        </pc:sldMkLst>
      </pc:sldChg>
      <pc:sldChg chg="add del ord">
        <pc:chgData name="Raphaella ASHRAF" userId="5247841d-d595-4c30-b58a-9906097315c5" providerId="ADAL" clId="{49E1EDC4-949C-4C9A-9207-A653EB98B0DF}" dt="2024-11-19T09:17:18.019" v="4767" actId="47"/>
        <pc:sldMkLst>
          <pc:docMk/>
          <pc:sldMk cId="2751325514" sldId="2147476529"/>
        </pc:sldMkLst>
      </pc:sldChg>
      <pc:sldChg chg="add del ord">
        <pc:chgData name="Raphaella ASHRAF" userId="5247841d-d595-4c30-b58a-9906097315c5" providerId="ADAL" clId="{49E1EDC4-949C-4C9A-9207-A653EB98B0DF}" dt="2024-11-19T09:17:18.019" v="4767" actId="47"/>
        <pc:sldMkLst>
          <pc:docMk/>
          <pc:sldMk cId="248670375" sldId="2147476530"/>
        </pc:sldMkLst>
      </pc:sldChg>
      <pc:sldChg chg="add del ord">
        <pc:chgData name="Raphaella ASHRAF" userId="5247841d-d595-4c30-b58a-9906097315c5" providerId="ADAL" clId="{49E1EDC4-949C-4C9A-9207-A653EB98B0DF}" dt="2024-11-19T09:17:18.019" v="4767" actId="47"/>
        <pc:sldMkLst>
          <pc:docMk/>
          <pc:sldMk cId="2654990976" sldId="2147476531"/>
        </pc:sldMkLst>
      </pc:sldChg>
      <pc:sldChg chg="add del ord">
        <pc:chgData name="Raphaella ASHRAF" userId="5247841d-d595-4c30-b58a-9906097315c5" providerId="ADAL" clId="{49E1EDC4-949C-4C9A-9207-A653EB98B0DF}" dt="2024-11-19T09:17:18.019" v="4767" actId="47"/>
        <pc:sldMkLst>
          <pc:docMk/>
          <pc:sldMk cId="99744283" sldId="2147476532"/>
        </pc:sldMkLst>
      </pc:sldChg>
      <pc:sldChg chg="add del ord">
        <pc:chgData name="Raphaella ASHRAF" userId="5247841d-d595-4c30-b58a-9906097315c5" providerId="ADAL" clId="{49E1EDC4-949C-4C9A-9207-A653EB98B0DF}" dt="2024-11-19T09:17:18.019" v="4767" actId="47"/>
        <pc:sldMkLst>
          <pc:docMk/>
          <pc:sldMk cId="1651474457" sldId="2147476533"/>
        </pc:sldMkLst>
      </pc:sldChg>
      <pc:sldChg chg="add del ord">
        <pc:chgData name="Raphaella ASHRAF" userId="5247841d-d595-4c30-b58a-9906097315c5" providerId="ADAL" clId="{49E1EDC4-949C-4C9A-9207-A653EB98B0DF}" dt="2024-11-19T09:17:18.019" v="4767" actId="47"/>
        <pc:sldMkLst>
          <pc:docMk/>
          <pc:sldMk cId="157940616" sldId="2147476534"/>
        </pc:sldMkLst>
      </pc:sldChg>
      <pc:sldChg chg="add del ord">
        <pc:chgData name="Raphaella ASHRAF" userId="5247841d-d595-4c30-b58a-9906097315c5" providerId="ADAL" clId="{49E1EDC4-949C-4C9A-9207-A653EB98B0DF}" dt="2024-11-19T09:17:18.019" v="4767" actId="47"/>
        <pc:sldMkLst>
          <pc:docMk/>
          <pc:sldMk cId="1732108498" sldId="2147476535"/>
        </pc:sldMkLst>
      </pc:sldChg>
      <pc:sldChg chg="add del ord">
        <pc:chgData name="Raphaella ASHRAF" userId="5247841d-d595-4c30-b58a-9906097315c5" providerId="ADAL" clId="{49E1EDC4-949C-4C9A-9207-A653EB98B0DF}" dt="2024-11-19T09:17:18.019" v="4767" actId="47"/>
        <pc:sldMkLst>
          <pc:docMk/>
          <pc:sldMk cId="2923233411" sldId="2147476536"/>
        </pc:sldMkLst>
      </pc:sldChg>
      <pc:sldChg chg="add del ord">
        <pc:chgData name="Raphaella ASHRAF" userId="5247841d-d595-4c30-b58a-9906097315c5" providerId="ADAL" clId="{49E1EDC4-949C-4C9A-9207-A653EB98B0DF}" dt="2024-11-19T09:17:18.019" v="4767" actId="47"/>
        <pc:sldMkLst>
          <pc:docMk/>
          <pc:sldMk cId="1185810361" sldId="2147476537"/>
        </pc:sldMkLst>
      </pc:sldChg>
      <pc:sldChg chg="add del ord">
        <pc:chgData name="Raphaella ASHRAF" userId="5247841d-d595-4c30-b58a-9906097315c5" providerId="ADAL" clId="{49E1EDC4-949C-4C9A-9207-A653EB98B0DF}" dt="2024-11-19T09:17:18.019" v="4767" actId="47"/>
        <pc:sldMkLst>
          <pc:docMk/>
          <pc:sldMk cId="4042771060" sldId="2147476538"/>
        </pc:sldMkLst>
      </pc:sldChg>
      <pc:sldChg chg="add del ord">
        <pc:chgData name="Raphaella ASHRAF" userId="5247841d-d595-4c30-b58a-9906097315c5" providerId="ADAL" clId="{49E1EDC4-949C-4C9A-9207-A653EB98B0DF}" dt="2024-11-19T09:17:18.019" v="4767" actId="47"/>
        <pc:sldMkLst>
          <pc:docMk/>
          <pc:sldMk cId="2897792807" sldId="2147476539"/>
        </pc:sldMkLst>
      </pc:sldChg>
      <pc:sldChg chg="add del ord">
        <pc:chgData name="Raphaella ASHRAF" userId="5247841d-d595-4c30-b58a-9906097315c5" providerId="ADAL" clId="{49E1EDC4-949C-4C9A-9207-A653EB98B0DF}" dt="2024-11-19T09:17:18.019" v="4767" actId="47"/>
        <pc:sldMkLst>
          <pc:docMk/>
          <pc:sldMk cId="4260958182" sldId="2147476540"/>
        </pc:sldMkLst>
      </pc:sldChg>
      <pc:sldChg chg="add del ord">
        <pc:chgData name="Raphaella ASHRAF" userId="5247841d-d595-4c30-b58a-9906097315c5" providerId="ADAL" clId="{49E1EDC4-949C-4C9A-9207-A653EB98B0DF}" dt="2024-11-19T09:17:18.019" v="4767" actId="47"/>
        <pc:sldMkLst>
          <pc:docMk/>
          <pc:sldMk cId="605573659" sldId="2147476541"/>
        </pc:sldMkLst>
      </pc:sldChg>
      <pc:sldChg chg="add del ord">
        <pc:chgData name="Raphaella ASHRAF" userId="5247841d-d595-4c30-b58a-9906097315c5" providerId="ADAL" clId="{49E1EDC4-949C-4C9A-9207-A653EB98B0DF}" dt="2024-11-19T09:17:18.019" v="4767" actId="47"/>
        <pc:sldMkLst>
          <pc:docMk/>
          <pc:sldMk cId="1319091060" sldId="2147476542"/>
        </pc:sldMkLst>
      </pc:sldChg>
      <pc:sldChg chg="add del ord">
        <pc:chgData name="Raphaella ASHRAF" userId="5247841d-d595-4c30-b58a-9906097315c5" providerId="ADAL" clId="{49E1EDC4-949C-4C9A-9207-A653EB98B0DF}" dt="2024-11-19T09:17:18.019" v="4767" actId="47"/>
        <pc:sldMkLst>
          <pc:docMk/>
          <pc:sldMk cId="1965008116" sldId="2147476543"/>
        </pc:sldMkLst>
      </pc:sldChg>
      <pc:sldChg chg="add del ord">
        <pc:chgData name="Raphaella ASHRAF" userId="5247841d-d595-4c30-b58a-9906097315c5" providerId="ADAL" clId="{49E1EDC4-949C-4C9A-9207-A653EB98B0DF}" dt="2024-11-19T09:17:18.019" v="4767" actId="47"/>
        <pc:sldMkLst>
          <pc:docMk/>
          <pc:sldMk cId="2322813772" sldId="2147476544"/>
        </pc:sldMkLst>
      </pc:sldChg>
      <pc:sldChg chg="add del ord">
        <pc:chgData name="Raphaella ASHRAF" userId="5247841d-d595-4c30-b58a-9906097315c5" providerId="ADAL" clId="{49E1EDC4-949C-4C9A-9207-A653EB98B0DF}" dt="2024-11-19T09:17:18.019" v="4767" actId="47"/>
        <pc:sldMkLst>
          <pc:docMk/>
          <pc:sldMk cId="3153381435" sldId="2147476545"/>
        </pc:sldMkLst>
      </pc:sldChg>
      <pc:sldChg chg="add del ord">
        <pc:chgData name="Raphaella ASHRAF" userId="5247841d-d595-4c30-b58a-9906097315c5" providerId="ADAL" clId="{49E1EDC4-949C-4C9A-9207-A653EB98B0DF}" dt="2024-11-19T09:17:18.019" v="4767" actId="47"/>
        <pc:sldMkLst>
          <pc:docMk/>
          <pc:sldMk cId="3025940050" sldId="2147476546"/>
        </pc:sldMkLst>
      </pc:sldChg>
      <pc:sldChg chg="add del ord">
        <pc:chgData name="Raphaella ASHRAF" userId="5247841d-d595-4c30-b58a-9906097315c5" providerId="ADAL" clId="{49E1EDC4-949C-4C9A-9207-A653EB98B0DF}" dt="2024-11-19T09:17:18.019" v="4767" actId="47"/>
        <pc:sldMkLst>
          <pc:docMk/>
          <pc:sldMk cId="6400886" sldId="2147476547"/>
        </pc:sldMkLst>
      </pc:sldChg>
      <pc:sldChg chg="add del ord">
        <pc:chgData name="Raphaella ASHRAF" userId="5247841d-d595-4c30-b58a-9906097315c5" providerId="ADAL" clId="{49E1EDC4-949C-4C9A-9207-A653EB98B0DF}" dt="2024-11-19T09:17:18.019" v="4767" actId="47"/>
        <pc:sldMkLst>
          <pc:docMk/>
          <pc:sldMk cId="3450672532" sldId="2147476548"/>
        </pc:sldMkLst>
      </pc:sldChg>
      <pc:sldChg chg="add del ord">
        <pc:chgData name="Raphaella ASHRAF" userId="5247841d-d595-4c30-b58a-9906097315c5" providerId="ADAL" clId="{49E1EDC4-949C-4C9A-9207-A653EB98B0DF}" dt="2024-11-19T09:17:18.019" v="4767" actId="47"/>
        <pc:sldMkLst>
          <pc:docMk/>
          <pc:sldMk cId="731064037" sldId="2147476549"/>
        </pc:sldMkLst>
      </pc:sldChg>
      <pc:sldChg chg="add del ord">
        <pc:chgData name="Raphaella ASHRAF" userId="5247841d-d595-4c30-b58a-9906097315c5" providerId="ADAL" clId="{49E1EDC4-949C-4C9A-9207-A653EB98B0DF}" dt="2024-11-19T09:17:18.019" v="4767" actId="47"/>
        <pc:sldMkLst>
          <pc:docMk/>
          <pc:sldMk cId="4179794628" sldId="2147476550"/>
        </pc:sldMkLst>
      </pc:sldChg>
      <pc:sldChg chg="add del ord">
        <pc:chgData name="Raphaella ASHRAF" userId="5247841d-d595-4c30-b58a-9906097315c5" providerId="ADAL" clId="{49E1EDC4-949C-4C9A-9207-A653EB98B0DF}" dt="2024-11-19T09:17:18.019" v="4767" actId="47"/>
        <pc:sldMkLst>
          <pc:docMk/>
          <pc:sldMk cId="2475833646" sldId="2147476551"/>
        </pc:sldMkLst>
      </pc:sldChg>
      <pc:sldChg chg="add del ord">
        <pc:chgData name="Raphaella ASHRAF" userId="5247841d-d595-4c30-b58a-9906097315c5" providerId="ADAL" clId="{49E1EDC4-949C-4C9A-9207-A653EB98B0DF}" dt="2024-11-19T09:17:18.019" v="4767" actId="47"/>
        <pc:sldMkLst>
          <pc:docMk/>
          <pc:sldMk cId="3121085946" sldId="2147476552"/>
        </pc:sldMkLst>
      </pc:sldChg>
      <pc:sldChg chg="add del ord">
        <pc:chgData name="Raphaella ASHRAF" userId="5247841d-d595-4c30-b58a-9906097315c5" providerId="ADAL" clId="{49E1EDC4-949C-4C9A-9207-A653EB98B0DF}" dt="2024-11-19T09:17:18.019" v="4767" actId="47"/>
        <pc:sldMkLst>
          <pc:docMk/>
          <pc:sldMk cId="930080385" sldId="2147476553"/>
        </pc:sldMkLst>
      </pc:sldChg>
      <pc:sldChg chg="add del ord">
        <pc:chgData name="Raphaella ASHRAF" userId="5247841d-d595-4c30-b58a-9906097315c5" providerId="ADAL" clId="{49E1EDC4-949C-4C9A-9207-A653EB98B0DF}" dt="2024-11-19T09:17:18.019" v="4767" actId="47"/>
        <pc:sldMkLst>
          <pc:docMk/>
          <pc:sldMk cId="3804307070" sldId="2147476554"/>
        </pc:sldMkLst>
      </pc:sldChg>
      <pc:sldChg chg="add del ord">
        <pc:chgData name="Raphaella ASHRAF" userId="5247841d-d595-4c30-b58a-9906097315c5" providerId="ADAL" clId="{49E1EDC4-949C-4C9A-9207-A653EB98B0DF}" dt="2024-11-19T09:17:18.019" v="4767" actId="47"/>
        <pc:sldMkLst>
          <pc:docMk/>
          <pc:sldMk cId="1673390181" sldId="2147476555"/>
        </pc:sldMkLst>
      </pc:sldChg>
      <pc:sldChg chg="add del ord">
        <pc:chgData name="Raphaella ASHRAF" userId="5247841d-d595-4c30-b58a-9906097315c5" providerId="ADAL" clId="{49E1EDC4-949C-4C9A-9207-A653EB98B0DF}" dt="2024-11-19T09:17:18.019" v="4767" actId="47"/>
        <pc:sldMkLst>
          <pc:docMk/>
          <pc:sldMk cId="971778040" sldId="2147476556"/>
        </pc:sldMkLst>
      </pc:sldChg>
      <pc:sldChg chg="add del ord">
        <pc:chgData name="Raphaella ASHRAF" userId="5247841d-d595-4c30-b58a-9906097315c5" providerId="ADAL" clId="{49E1EDC4-949C-4C9A-9207-A653EB98B0DF}" dt="2024-11-19T09:17:18.019" v="4767" actId="47"/>
        <pc:sldMkLst>
          <pc:docMk/>
          <pc:sldMk cId="4280983265" sldId="2147476557"/>
        </pc:sldMkLst>
      </pc:sldChg>
      <pc:sldChg chg="add del ord">
        <pc:chgData name="Raphaella ASHRAF" userId="5247841d-d595-4c30-b58a-9906097315c5" providerId="ADAL" clId="{49E1EDC4-949C-4C9A-9207-A653EB98B0DF}" dt="2024-11-19T09:17:18.019" v="4767" actId="47"/>
        <pc:sldMkLst>
          <pc:docMk/>
          <pc:sldMk cId="60646765" sldId="2147476558"/>
        </pc:sldMkLst>
      </pc:sldChg>
      <pc:sldChg chg="add del ord">
        <pc:chgData name="Raphaella ASHRAF" userId="5247841d-d595-4c30-b58a-9906097315c5" providerId="ADAL" clId="{49E1EDC4-949C-4C9A-9207-A653EB98B0DF}" dt="2024-11-19T09:17:18.019" v="4767" actId="47"/>
        <pc:sldMkLst>
          <pc:docMk/>
          <pc:sldMk cId="694777390" sldId="2147476559"/>
        </pc:sldMkLst>
      </pc:sldChg>
      <pc:sldChg chg="add del ord">
        <pc:chgData name="Raphaella ASHRAF" userId="5247841d-d595-4c30-b58a-9906097315c5" providerId="ADAL" clId="{49E1EDC4-949C-4C9A-9207-A653EB98B0DF}" dt="2024-11-19T09:17:18.019" v="4767" actId="47"/>
        <pc:sldMkLst>
          <pc:docMk/>
          <pc:sldMk cId="575704507" sldId="2147476560"/>
        </pc:sldMkLst>
      </pc:sldChg>
      <pc:sldChg chg="add del ord">
        <pc:chgData name="Raphaella ASHRAF" userId="5247841d-d595-4c30-b58a-9906097315c5" providerId="ADAL" clId="{49E1EDC4-949C-4C9A-9207-A653EB98B0DF}" dt="2024-11-19T09:17:18.019" v="4767" actId="47"/>
        <pc:sldMkLst>
          <pc:docMk/>
          <pc:sldMk cId="1485919459" sldId="2147476561"/>
        </pc:sldMkLst>
      </pc:sldChg>
      <pc:sldChg chg="add del ord">
        <pc:chgData name="Raphaella ASHRAF" userId="5247841d-d595-4c30-b58a-9906097315c5" providerId="ADAL" clId="{49E1EDC4-949C-4C9A-9207-A653EB98B0DF}" dt="2024-11-19T09:17:18.019" v="4767" actId="47"/>
        <pc:sldMkLst>
          <pc:docMk/>
          <pc:sldMk cId="2452270086" sldId="2147476562"/>
        </pc:sldMkLst>
      </pc:sldChg>
      <pc:sldChg chg="add del ord">
        <pc:chgData name="Raphaella ASHRAF" userId="5247841d-d595-4c30-b58a-9906097315c5" providerId="ADAL" clId="{49E1EDC4-949C-4C9A-9207-A653EB98B0DF}" dt="2024-11-19T09:17:18.019" v="4767" actId="47"/>
        <pc:sldMkLst>
          <pc:docMk/>
          <pc:sldMk cId="1161531411" sldId="2147476563"/>
        </pc:sldMkLst>
      </pc:sldChg>
      <pc:sldChg chg="add del ord">
        <pc:chgData name="Raphaella ASHRAF" userId="5247841d-d595-4c30-b58a-9906097315c5" providerId="ADAL" clId="{49E1EDC4-949C-4C9A-9207-A653EB98B0DF}" dt="2024-11-19T09:17:18.019" v="4767" actId="47"/>
        <pc:sldMkLst>
          <pc:docMk/>
          <pc:sldMk cId="1290439487" sldId="2147476564"/>
        </pc:sldMkLst>
      </pc:sldChg>
      <pc:sldChg chg="add del ord">
        <pc:chgData name="Raphaella ASHRAF" userId="5247841d-d595-4c30-b58a-9906097315c5" providerId="ADAL" clId="{49E1EDC4-949C-4C9A-9207-A653EB98B0DF}" dt="2024-11-19T09:17:18.019" v="4767" actId="47"/>
        <pc:sldMkLst>
          <pc:docMk/>
          <pc:sldMk cId="1444142189" sldId="2147476565"/>
        </pc:sldMkLst>
      </pc:sldChg>
      <pc:sldChg chg="add del ord">
        <pc:chgData name="Raphaella ASHRAF" userId="5247841d-d595-4c30-b58a-9906097315c5" providerId="ADAL" clId="{49E1EDC4-949C-4C9A-9207-A653EB98B0DF}" dt="2024-11-19T09:17:18.019" v="4767" actId="47"/>
        <pc:sldMkLst>
          <pc:docMk/>
          <pc:sldMk cId="904065294" sldId="2147476566"/>
        </pc:sldMkLst>
      </pc:sldChg>
      <pc:sldChg chg="add del ord">
        <pc:chgData name="Raphaella ASHRAF" userId="5247841d-d595-4c30-b58a-9906097315c5" providerId="ADAL" clId="{49E1EDC4-949C-4C9A-9207-A653EB98B0DF}" dt="2024-11-19T09:17:18.019" v="4767" actId="47"/>
        <pc:sldMkLst>
          <pc:docMk/>
          <pc:sldMk cId="703788203" sldId="2147476567"/>
        </pc:sldMkLst>
      </pc:sldChg>
      <pc:sldChg chg="add del ord">
        <pc:chgData name="Raphaella ASHRAF" userId="5247841d-d595-4c30-b58a-9906097315c5" providerId="ADAL" clId="{49E1EDC4-949C-4C9A-9207-A653EB98B0DF}" dt="2024-11-19T09:17:18.019" v="4767" actId="47"/>
        <pc:sldMkLst>
          <pc:docMk/>
          <pc:sldMk cId="117142980" sldId="2147476568"/>
        </pc:sldMkLst>
      </pc:sldChg>
      <pc:sldChg chg="add del ord">
        <pc:chgData name="Raphaella ASHRAF" userId="5247841d-d595-4c30-b58a-9906097315c5" providerId="ADAL" clId="{49E1EDC4-949C-4C9A-9207-A653EB98B0DF}" dt="2024-11-19T09:17:18.019" v="4767" actId="47"/>
        <pc:sldMkLst>
          <pc:docMk/>
          <pc:sldMk cId="85846294" sldId="2147476569"/>
        </pc:sldMkLst>
      </pc:sldChg>
      <pc:sldChg chg="add del ord">
        <pc:chgData name="Raphaella ASHRAF" userId="5247841d-d595-4c30-b58a-9906097315c5" providerId="ADAL" clId="{49E1EDC4-949C-4C9A-9207-A653EB98B0DF}" dt="2024-11-19T09:17:18.019" v="4767" actId="47"/>
        <pc:sldMkLst>
          <pc:docMk/>
          <pc:sldMk cId="167065806" sldId="2147476570"/>
        </pc:sldMkLst>
      </pc:sldChg>
      <pc:sldChg chg="add del ord">
        <pc:chgData name="Raphaella ASHRAF" userId="5247841d-d595-4c30-b58a-9906097315c5" providerId="ADAL" clId="{49E1EDC4-949C-4C9A-9207-A653EB98B0DF}" dt="2024-11-19T09:17:18.019" v="4767" actId="47"/>
        <pc:sldMkLst>
          <pc:docMk/>
          <pc:sldMk cId="215740092" sldId="2147476571"/>
        </pc:sldMkLst>
      </pc:sldChg>
      <pc:sldChg chg="add del ord">
        <pc:chgData name="Raphaella ASHRAF" userId="5247841d-d595-4c30-b58a-9906097315c5" providerId="ADAL" clId="{49E1EDC4-949C-4C9A-9207-A653EB98B0DF}" dt="2024-11-19T09:17:18.019" v="4767" actId="47"/>
        <pc:sldMkLst>
          <pc:docMk/>
          <pc:sldMk cId="2484708031" sldId="2147476572"/>
        </pc:sldMkLst>
      </pc:sldChg>
      <pc:sldChg chg="add del ord">
        <pc:chgData name="Raphaella ASHRAF" userId="5247841d-d595-4c30-b58a-9906097315c5" providerId="ADAL" clId="{49E1EDC4-949C-4C9A-9207-A653EB98B0DF}" dt="2024-11-19T09:17:18.019" v="4767" actId="47"/>
        <pc:sldMkLst>
          <pc:docMk/>
          <pc:sldMk cId="1072589462" sldId="2147476573"/>
        </pc:sldMkLst>
      </pc:sldChg>
      <pc:sldChg chg="add del ord">
        <pc:chgData name="Raphaella ASHRAF" userId="5247841d-d595-4c30-b58a-9906097315c5" providerId="ADAL" clId="{49E1EDC4-949C-4C9A-9207-A653EB98B0DF}" dt="2024-11-19T09:17:18.019" v="4767" actId="47"/>
        <pc:sldMkLst>
          <pc:docMk/>
          <pc:sldMk cId="923548937" sldId="2147476574"/>
        </pc:sldMkLst>
      </pc:sldChg>
      <pc:sldChg chg="add del ord">
        <pc:chgData name="Raphaella ASHRAF" userId="5247841d-d595-4c30-b58a-9906097315c5" providerId="ADAL" clId="{49E1EDC4-949C-4C9A-9207-A653EB98B0DF}" dt="2024-11-19T09:17:18.019" v="4767" actId="47"/>
        <pc:sldMkLst>
          <pc:docMk/>
          <pc:sldMk cId="1284507513" sldId="2147476575"/>
        </pc:sldMkLst>
      </pc:sldChg>
      <pc:sldChg chg="add del ord">
        <pc:chgData name="Raphaella ASHRAF" userId="5247841d-d595-4c30-b58a-9906097315c5" providerId="ADAL" clId="{49E1EDC4-949C-4C9A-9207-A653EB98B0DF}" dt="2024-11-19T09:17:18.019" v="4767" actId="47"/>
        <pc:sldMkLst>
          <pc:docMk/>
          <pc:sldMk cId="3631969229" sldId="2147476576"/>
        </pc:sldMkLst>
      </pc:sldChg>
      <pc:sldChg chg="add del ord">
        <pc:chgData name="Raphaella ASHRAF" userId="5247841d-d595-4c30-b58a-9906097315c5" providerId="ADAL" clId="{49E1EDC4-949C-4C9A-9207-A653EB98B0DF}" dt="2024-11-19T09:17:18.019" v="4767" actId="47"/>
        <pc:sldMkLst>
          <pc:docMk/>
          <pc:sldMk cId="1958895659" sldId="2147476577"/>
        </pc:sldMkLst>
      </pc:sldChg>
      <pc:sldChg chg="add del ord">
        <pc:chgData name="Raphaella ASHRAF" userId="5247841d-d595-4c30-b58a-9906097315c5" providerId="ADAL" clId="{49E1EDC4-949C-4C9A-9207-A653EB98B0DF}" dt="2024-11-19T09:17:18.019" v="4767" actId="47"/>
        <pc:sldMkLst>
          <pc:docMk/>
          <pc:sldMk cId="2825415057" sldId="2147476578"/>
        </pc:sldMkLst>
      </pc:sldChg>
      <pc:sldChg chg="add del ord">
        <pc:chgData name="Raphaella ASHRAF" userId="5247841d-d595-4c30-b58a-9906097315c5" providerId="ADAL" clId="{49E1EDC4-949C-4C9A-9207-A653EB98B0DF}" dt="2024-11-19T09:17:18.019" v="4767" actId="47"/>
        <pc:sldMkLst>
          <pc:docMk/>
          <pc:sldMk cId="2686141698" sldId="2147476579"/>
        </pc:sldMkLst>
      </pc:sldChg>
      <pc:sldChg chg="add del ord">
        <pc:chgData name="Raphaella ASHRAF" userId="5247841d-d595-4c30-b58a-9906097315c5" providerId="ADAL" clId="{49E1EDC4-949C-4C9A-9207-A653EB98B0DF}" dt="2024-11-19T09:17:18.019" v="4767" actId="47"/>
        <pc:sldMkLst>
          <pc:docMk/>
          <pc:sldMk cId="127341632" sldId="2147476580"/>
        </pc:sldMkLst>
      </pc:sldChg>
      <pc:sldChg chg="add del ord">
        <pc:chgData name="Raphaella ASHRAF" userId="5247841d-d595-4c30-b58a-9906097315c5" providerId="ADAL" clId="{49E1EDC4-949C-4C9A-9207-A653EB98B0DF}" dt="2024-11-19T09:17:18.019" v="4767" actId="47"/>
        <pc:sldMkLst>
          <pc:docMk/>
          <pc:sldMk cId="1537934638" sldId="2147476581"/>
        </pc:sldMkLst>
      </pc:sldChg>
      <pc:sldChg chg="add del ord">
        <pc:chgData name="Raphaella ASHRAF" userId="5247841d-d595-4c30-b58a-9906097315c5" providerId="ADAL" clId="{49E1EDC4-949C-4C9A-9207-A653EB98B0DF}" dt="2024-11-19T09:17:18.019" v="4767" actId="47"/>
        <pc:sldMkLst>
          <pc:docMk/>
          <pc:sldMk cId="1654049622" sldId="2147476582"/>
        </pc:sldMkLst>
      </pc:sldChg>
      <pc:sldChg chg="add del ord">
        <pc:chgData name="Raphaella ASHRAF" userId="5247841d-d595-4c30-b58a-9906097315c5" providerId="ADAL" clId="{49E1EDC4-949C-4C9A-9207-A653EB98B0DF}" dt="2024-11-19T09:17:18.019" v="4767" actId="47"/>
        <pc:sldMkLst>
          <pc:docMk/>
          <pc:sldMk cId="3134252172" sldId="2147476583"/>
        </pc:sldMkLst>
      </pc:sldChg>
      <pc:sldChg chg="add del ord">
        <pc:chgData name="Raphaella ASHRAF" userId="5247841d-d595-4c30-b58a-9906097315c5" providerId="ADAL" clId="{49E1EDC4-949C-4C9A-9207-A653EB98B0DF}" dt="2024-11-19T09:17:18.019" v="4767" actId="47"/>
        <pc:sldMkLst>
          <pc:docMk/>
          <pc:sldMk cId="2625698553" sldId="2147476584"/>
        </pc:sldMkLst>
      </pc:sldChg>
      <pc:sldChg chg="add del ord">
        <pc:chgData name="Raphaella ASHRAF" userId="5247841d-d595-4c30-b58a-9906097315c5" providerId="ADAL" clId="{49E1EDC4-949C-4C9A-9207-A653EB98B0DF}" dt="2024-11-19T09:17:18.019" v="4767" actId="47"/>
        <pc:sldMkLst>
          <pc:docMk/>
          <pc:sldMk cId="1999047780" sldId="2147476585"/>
        </pc:sldMkLst>
      </pc:sldChg>
      <pc:sldChg chg="add del ord">
        <pc:chgData name="Raphaella ASHRAF" userId="5247841d-d595-4c30-b58a-9906097315c5" providerId="ADAL" clId="{49E1EDC4-949C-4C9A-9207-A653EB98B0DF}" dt="2024-11-19T09:17:18.019" v="4767" actId="47"/>
        <pc:sldMkLst>
          <pc:docMk/>
          <pc:sldMk cId="3608645925" sldId="2147476586"/>
        </pc:sldMkLst>
      </pc:sldChg>
      <pc:sldChg chg="add del ord">
        <pc:chgData name="Raphaella ASHRAF" userId="5247841d-d595-4c30-b58a-9906097315c5" providerId="ADAL" clId="{49E1EDC4-949C-4C9A-9207-A653EB98B0DF}" dt="2024-11-19T09:17:18.019" v="4767" actId="47"/>
        <pc:sldMkLst>
          <pc:docMk/>
          <pc:sldMk cId="335545515" sldId="2147476587"/>
        </pc:sldMkLst>
      </pc:sldChg>
      <pc:sldChg chg="add del ord">
        <pc:chgData name="Raphaella ASHRAF" userId="5247841d-d595-4c30-b58a-9906097315c5" providerId="ADAL" clId="{49E1EDC4-949C-4C9A-9207-A653EB98B0DF}" dt="2024-11-19T09:17:18.019" v="4767" actId="47"/>
        <pc:sldMkLst>
          <pc:docMk/>
          <pc:sldMk cId="4125605663" sldId="2147476588"/>
        </pc:sldMkLst>
      </pc:sldChg>
      <pc:sldChg chg="add del ord">
        <pc:chgData name="Raphaella ASHRAF" userId="5247841d-d595-4c30-b58a-9906097315c5" providerId="ADAL" clId="{49E1EDC4-949C-4C9A-9207-A653EB98B0DF}" dt="2024-11-19T09:17:18.019" v="4767" actId="47"/>
        <pc:sldMkLst>
          <pc:docMk/>
          <pc:sldMk cId="285862629" sldId="2147476589"/>
        </pc:sldMkLst>
      </pc:sldChg>
      <pc:sldChg chg="add del ord">
        <pc:chgData name="Raphaella ASHRAF" userId="5247841d-d595-4c30-b58a-9906097315c5" providerId="ADAL" clId="{49E1EDC4-949C-4C9A-9207-A653EB98B0DF}" dt="2024-11-19T09:17:18.019" v="4767" actId="47"/>
        <pc:sldMkLst>
          <pc:docMk/>
          <pc:sldMk cId="163669395" sldId="2147476590"/>
        </pc:sldMkLst>
      </pc:sldChg>
      <pc:sldChg chg="add del ord">
        <pc:chgData name="Raphaella ASHRAF" userId="5247841d-d595-4c30-b58a-9906097315c5" providerId="ADAL" clId="{49E1EDC4-949C-4C9A-9207-A653EB98B0DF}" dt="2024-11-19T09:17:18.019" v="4767" actId="47"/>
        <pc:sldMkLst>
          <pc:docMk/>
          <pc:sldMk cId="3312260867" sldId="2147476591"/>
        </pc:sldMkLst>
      </pc:sldChg>
      <pc:sldChg chg="add del ord">
        <pc:chgData name="Raphaella ASHRAF" userId="5247841d-d595-4c30-b58a-9906097315c5" providerId="ADAL" clId="{49E1EDC4-949C-4C9A-9207-A653EB98B0DF}" dt="2024-11-19T09:17:18.019" v="4767" actId="47"/>
        <pc:sldMkLst>
          <pc:docMk/>
          <pc:sldMk cId="4057009387" sldId="2147476592"/>
        </pc:sldMkLst>
      </pc:sldChg>
      <pc:sldChg chg="add del ord">
        <pc:chgData name="Raphaella ASHRAF" userId="5247841d-d595-4c30-b58a-9906097315c5" providerId="ADAL" clId="{49E1EDC4-949C-4C9A-9207-A653EB98B0DF}" dt="2024-11-19T09:17:18.019" v="4767" actId="47"/>
        <pc:sldMkLst>
          <pc:docMk/>
          <pc:sldMk cId="1608869869" sldId="2147476593"/>
        </pc:sldMkLst>
      </pc:sldChg>
      <pc:sldChg chg="add del ord">
        <pc:chgData name="Raphaella ASHRAF" userId="5247841d-d595-4c30-b58a-9906097315c5" providerId="ADAL" clId="{49E1EDC4-949C-4C9A-9207-A653EB98B0DF}" dt="2024-11-19T09:17:18.019" v="4767" actId="47"/>
        <pc:sldMkLst>
          <pc:docMk/>
          <pc:sldMk cId="909203356" sldId="2147476594"/>
        </pc:sldMkLst>
      </pc:sldChg>
      <pc:sldChg chg="add del ord">
        <pc:chgData name="Raphaella ASHRAF" userId="5247841d-d595-4c30-b58a-9906097315c5" providerId="ADAL" clId="{49E1EDC4-949C-4C9A-9207-A653EB98B0DF}" dt="2024-11-19T09:17:18.019" v="4767" actId="47"/>
        <pc:sldMkLst>
          <pc:docMk/>
          <pc:sldMk cId="2730786794" sldId="2147476595"/>
        </pc:sldMkLst>
      </pc:sldChg>
      <pc:sldChg chg="add del ord">
        <pc:chgData name="Raphaella ASHRAF" userId="5247841d-d595-4c30-b58a-9906097315c5" providerId="ADAL" clId="{49E1EDC4-949C-4C9A-9207-A653EB98B0DF}" dt="2024-11-19T09:17:18.019" v="4767" actId="47"/>
        <pc:sldMkLst>
          <pc:docMk/>
          <pc:sldMk cId="8162404" sldId="2147476596"/>
        </pc:sldMkLst>
      </pc:sldChg>
      <pc:sldChg chg="add del ord">
        <pc:chgData name="Raphaella ASHRAF" userId="5247841d-d595-4c30-b58a-9906097315c5" providerId="ADAL" clId="{49E1EDC4-949C-4C9A-9207-A653EB98B0DF}" dt="2024-11-19T09:17:18.019" v="4767" actId="47"/>
        <pc:sldMkLst>
          <pc:docMk/>
          <pc:sldMk cId="3842958228" sldId="2147476597"/>
        </pc:sldMkLst>
      </pc:sldChg>
      <pc:sldChg chg="add del ord">
        <pc:chgData name="Raphaella ASHRAF" userId="5247841d-d595-4c30-b58a-9906097315c5" providerId="ADAL" clId="{49E1EDC4-949C-4C9A-9207-A653EB98B0DF}" dt="2024-11-19T09:17:18.019" v="4767" actId="47"/>
        <pc:sldMkLst>
          <pc:docMk/>
          <pc:sldMk cId="1763758659" sldId="2147476598"/>
        </pc:sldMkLst>
      </pc:sldChg>
      <pc:sldChg chg="add del ord">
        <pc:chgData name="Raphaella ASHRAF" userId="5247841d-d595-4c30-b58a-9906097315c5" providerId="ADAL" clId="{49E1EDC4-949C-4C9A-9207-A653EB98B0DF}" dt="2024-11-19T09:17:18.019" v="4767" actId="47"/>
        <pc:sldMkLst>
          <pc:docMk/>
          <pc:sldMk cId="525011573" sldId="2147476599"/>
        </pc:sldMkLst>
      </pc:sldChg>
      <pc:sldChg chg="add del ord">
        <pc:chgData name="Raphaella ASHRAF" userId="5247841d-d595-4c30-b58a-9906097315c5" providerId="ADAL" clId="{49E1EDC4-949C-4C9A-9207-A653EB98B0DF}" dt="2024-11-19T09:17:18.019" v="4767" actId="47"/>
        <pc:sldMkLst>
          <pc:docMk/>
          <pc:sldMk cId="3110521681" sldId="2147476600"/>
        </pc:sldMkLst>
      </pc:sldChg>
      <pc:sldChg chg="add del ord">
        <pc:chgData name="Raphaella ASHRAF" userId="5247841d-d595-4c30-b58a-9906097315c5" providerId="ADAL" clId="{49E1EDC4-949C-4C9A-9207-A653EB98B0DF}" dt="2024-11-19T09:17:18.019" v="4767" actId="47"/>
        <pc:sldMkLst>
          <pc:docMk/>
          <pc:sldMk cId="1387434791" sldId="2147476601"/>
        </pc:sldMkLst>
      </pc:sldChg>
      <pc:sldChg chg="add del ord">
        <pc:chgData name="Raphaella ASHRAF" userId="5247841d-d595-4c30-b58a-9906097315c5" providerId="ADAL" clId="{49E1EDC4-949C-4C9A-9207-A653EB98B0DF}" dt="2024-11-19T09:17:18.019" v="4767" actId="47"/>
        <pc:sldMkLst>
          <pc:docMk/>
          <pc:sldMk cId="1242974574" sldId="2147476602"/>
        </pc:sldMkLst>
      </pc:sldChg>
      <pc:sldChg chg="add del ord">
        <pc:chgData name="Raphaella ASHRAF" userId="5247841d-d595-4c30-b58a-9906097315c5" providerId="ADAL" clId="{49E1EDC4-949C-4C9A-9207-A653EB98B0DF}" dt="2024-11-19T09:17:18.019" v="4767" actId="47"/>
        <pc:sldMkLst>
          <pc:docMk/>
          <pc:sldMk cId="1255462913" sldId="2147476603"/>
        </pc:sldMkLst>
      </pc:sldChg>
      <pc:sldChg chg="add del ord">
        <pc:chgData name="Raphaella ASHRAF" userId="5247841d-d595-4c30-b58a-9906097315c5" providerId="ADAL" clId="{49E1EDC4-949C-4C9A-9207-A653EB98B0DF}" dt="2024-11-19T09:17:18.019" v="4767" actId="47"/>
        <pc:sldMkLst>
          <pc:docMk/>
          <pc:sldMk cId="3674703047" sldId="2147476604"/>
        </pc:sldMkLst>
      </pc:sldChg>
      <pc:sldChg chg="add del ord">
        <pc:chgData name="Raphaella ASHRAF" userId="5247841d-d595-4c30-b58a-9906097315c5" providerId="ADAL" clId="{49E1EDC4-949C-4C9A-9207-A653EB98B0DF}" dt="2024-11-19T09:17:18.019" v="4767" actId="47"/>
        <pc:sldMkLst>
          <pc:docMk/>
          <pc:sldMk cId="652542850" sldId="2147476605"/>
        </pc:sldMkLst>
      </pc:sldChg>
      <pc:sldChg chg="add del ord">
        <pc:chgData name="Raphaella ASHRAF" userId="5247841d-d595-4c30-b58a-9906097315c5" providerId="ADAL" clId="{49E1EDC4-949C-4C9A-9207-A653EB98B0DF}" dt="2024-11-19T09:17:18.019" v="4767" actId="47"/>
        <pc:sldMkLst>
          <pc:docMk/>
          <pc:sldMk cId="2016913038" sldId="2147476606"/>
        </pc:sldMkLst>
      </pc:sldChg>
      <pc:sldChg chg="add del ord">
        <pc:chgData name="Raphaella ASHRAF" userId="5247841d-d595-4c30-b58a-9906097315c5" providerId="ADAL" clId="{49E1EDC4-949C-4C9A-9207-A653EB98B0DF}" dt="2024-11-19T09:17:18.019" v="4767" actId="47"/>
        <pc:sldMkLst>
          <pc:docMk/>
          <pc:sldMk cId="711276239" sldId="2147476607"/>
        </pc:sldMkLst>
      </pc:sldChg>
      <pc:sldChg chg="add del ord">
        <pc:chgData name="Raphaella ASHRAF" userId="5247841d-d595-4c30-b58a-9906097315c5" providerId="ADAL" clId="{49E1EDC4-949C-4C9A-9207-A653EB98B0DF}" dt="2024-11-19T09:17:18.019" v="4767" actId="47"/>
        <pc:sldMkLst>
          <pc:docMk/>
          <pc:sldMk cId="35476611" sldId="2147476608"/>
        </pc:sldMkLst>
      </pc:sldChg>
      <pc:sldChg chg="add del ord">
        <pc:chgData name="Raphaella ASHRAF" userId="5247841d-d595-4c30-b58a-9906097315c5" providerId="ADAL" clId="{49E1EDC4-949C-4C9A-9207-A653EB98B0DF}" dt="2024-11-19T09:17:18.019" v="4767" actId="47"/>
        <pc:sldMkLst>
          <pc:docMk/>
          <pc:sldMk cId="2180889098" sldId="2147476609"/>
        </pc:sldMkLst>
      </pc:sldChg>
      <pc:sldChg chg="add del ord">
        <pc:chgData name="Raphaella ASHRAF" userId="5247841d-d595-4c30-b58a-9906097315c5" providerId="ADAL" clId="{49E1EDC4-949C-4C9A-9207-A653EB98B0DF}" dt="2024-11-19T09:17:18.019" v="4767" actId="47"/>
        <pc:sldMkLst>
          <pc:docMk/>
          <pc:sldMk cId="1480576579" sldId="2147476610"/>
        </pc:sldMkLst>
      </pc:sldChg>
      <pc:sldChg chg="add del ord">
        <pc:chgData name="Raphaella ASHRAF" userId="5247841d-d595-4c30-b58a-9906097315c5" providerId="ADAL" clId="{49E1EDC4-949C-4C9A-9207-A653EB98B0DF}" dt="2024-11-19T09:17:18.019" v="4767" actId="47"/>
        <pc:sldMkLst>
          <pc:docMk/>
          <pc:sldMk cId="1336210146" sldId="2147476611"/>
        </pc:sldMkLst>
      </pc:sldChg>
      <pc:sldChg chg="add del ord">
        <pc:chgData name="Raphaella ASHRAF" userId="5247841d-d595-4c30-b58a-9906097315c5" providerId="ADAL" clId="{49E1EDC4-949C-4C9A-9207-A653EB98B0DF}" dt="2024-11-19T09:17:18.019" v="4767" actId="47"/>
        <pc:sldMkLst>
          <pc:docMk/>
          <pc:sldMk cId="3838754162" sldId="2147476612"/>
        </pc:sldMkLst>
      </pc:sldChg>
      <pc:sldChg chg="add del ord">
        <pc:chgData name="Raphaella ASHRAF" userId="5247841d-d595-4c30-b58a-9906097315c5" providerId="ADAL" clId="{49E1EDC4-949C-4C9A-9207-A653EB98B0DF}" dt="2024-11-19T09:17:18.019" v="4767" actId="47"/>
        <pc:sldMkLst>
          <pc:docMk/>
          <pc:sldMk cId="2332664354" sldId="2147476613"/>
        </pc:sldMkLst>
      </pc:sldChg>
      <pc:sldChg chg="add del ord">
        <pc:chgData name="Raphaella ASHRAF" userId="5247841d-d595-4c30-b58a-9906097315c5" providerId="ADAL" clId="{49E1EDC4-949C-4C9A-9207-A653EB98B0DF}" dt="2024-11-19T09:17:18.019" v="4767" actId="47"/>
        <pc:sldMkLst>
          <pc:docMk/>
          <pc:sldMk cId="1610621806" sldId="2147476614"/>
        </pc:sldMkLst>
      </pc:sldChg>
      <pc:sldChg chg="add del ord">
        <pc:chgData name="Raphaella ASHRAF" userId="5247841d-d595-4c30-b58a-9906097315c5" providerId="ADAL" clId="{49E1EDC4-949C-4C9A-9207-A653EB98B0DF}" dt="2024-11-19T09:17:18.019" v="4767" actId="47"/>
        <pc:sldMkLst>
          <pc:docMk/>
          <pc:sldMk cId="1451221873" sldId="2147476615"/>
        </pc:sldMkLst>
      </pc:sldChg>
      <pc:sldChg chg="add del ord">
        <pc:chgData name="Raphaella ASHRAF" userId="5247841d-d595-4c30-b58a-9906097315c5" providerId="ADAL" clId="{49E1EDC4-949C-4C9A-9207-A653EB98B0DF}" dt="2024-11-19T09:17:18.019" v="4767" actId="47"/>
        <pc:sldMkLst>
          <pc:docMk/>
          <pc:sldMk cId="4049791909" sldId="2147476616"/>
        </pc:sldMkLst>
      </pc:sldChg>
      <pc:sldChg chg="add del ord">
        <pc:chgData name="Raphaella ASHRAF" userId="5247841d-d595-4c30-b58a-9906097315c5" providerId="ADAL" clId="{49E1EDC4-949C-4C9A-9207-A653EB98B0DF}" dt="2024-11-19T09:17:18.019" v="4767" actId="47"/>
        <pc:sldMkLst>
          <pc:docMk/>
          <pc:sldMk cId="1832216012" sldId="2147476617"/>
        </pc:sldMkLst>
      </pc:sldChg>
      <pc:sldChg chg="add del ord">
        <pc:chgData name="Raphaella ASHRAF" userId="5247841d-d595-4c30-b58a-9906097315c5" providerId="ADAL" clId="{49E1EDC4-949C-4C9A-9207-A653EB98B0DF}" dt="2024-11-19T09:17:18.019" v="4767" actId="47"/>
        <pc:sldMkLst>
          <pc:docMk/>
          <pc:sldMk cId="1466465208" sldId="2147476618"/>
        </pc:sldMkLst>
      </pc:sldChg>
      <pc:sldChg chg="add del ord">
        <pc:chgData name="Raphaella ASHRAF" userId="5247841d-d595-4c30-b58a-9906097315c5" providerId="ADAL" clId="{49E1EDC4-949C-4C9A-9207-A653EB98B0DF}" dt="2024-11-19T09:17:18.019" v="4767" actId="47"/>
        <pc:sldMkLst>
          <pc:docMk/>
          <pc:sldMk cId="12172709" sldId="2147476619"/>
        </pc:sldMkLst>
      </pc:sldChg>
      <pc:sldChg chg="add del ord">
        <pc:chgData name="Raphaella ASHRAF" userId="5247841d-d595-4c30-b58a-9906097315c5" providerId="ADAL" clId="{49E1EDC4-949C-4C9A-9207-A653EB98B0DF}" dt="2024-11-19T09:17:18.019" v="4767" actId="47"/>
        <pc:sldMkLst>
          <pc:docMk/>
          <pc:sldMk cId="1554527009" sldId="2147476620"/>
        </pc:sldMkLst>
      </pc:sldChg>
      <pc:sldChg chg="add del ord">
        <pc:chgData name="Raphaella ASHRAF" userId="5247841d-d595-4c30-b58a-9906097315c5" providerId="ADAL" clId="{49E1EDC4-949C-4C9A-9207-A653EB98B0DF}" dt="2024-11-19T09:17:18.019" v="4767" actId="47"/>
        <pc:sldMkLst>
          <pc:docMk/>
          <pc:sldMk cId="3063335689" sldId="2147476621"/>
        </pc:sldMkLst>
      </pc:sldChg>
      <pc:sldChg chg="add del ord">
        <pc:chgData name="Raphaella ASHRAF" userId="5247841d-d595-4c30-b58a-9906097315c5" providerId="ADAL" clId="{49E1EDC4-949C-4C9A-9207-A653EB98B0DF}" dt="2024-11-19T09:17:18.019" v="4767" actId="47"/>
        <pc:sldMkLst>
          <pc:docMk/>
          <pc:sldMk cId="3673813427" sldId="2147476622"/>
        </pc:sldMkLst>
      </pc:sldChg>
      <pc:sldChg chg="add del ord">
        <pc:chgData name="Raphaella ASHRAF" userId="5247841d-d595-4c30-b58a-9906097315c5" providerId="ADAL" clId="{49E1EDC4-949C-4C9A-9207-A653EB98B0DF}" dt="2024-11-19T09:17:18.019" v="4767" actId="47"/>
        <pc:sldMkLst>
          <pc:docMk/>
          <pc:sldMk cId="627699213" sldId="2147476623"/>
        </pc:sldMkLst>
      </pc:sldChg>
      <pc:sldChg chg="add del ord">
        <pc:chgData name="Raphaella ASHRAF" userId="5247841d-d595-4c30-b58a-9906097315c5" providerId="ADAL" clId="{49E1EDC4-949C-4C9A-9207-A653EB98B0DF}" dt="2024-11-19T09:17:18.019" v="4767" actId="47"/>
        <pc:sldMkLst>
          <pc:docMk/>
          <pc:sldMk cId="1314787277" sldId="2147476624"/>
        </pc:sldMkLst>
      </pc:sldChg>
      <pc:sldChg chg="add del ord">
        <pc:chgData name="Raphaella ASHRAF" userId="5247841d-d595-4c30-b58a-9906097315c5" providerId="ADAL" clId="{49E1EDC4-949C-4C9A-9207-A653EB98B0DF}" dt="2024-11-19T09:17:18.019" v="4767" actId="47"/>
        <pc:sldMkLst>
          <pc:docMk/>
          <pc:sldMk cId="4022303764" sldId="2147476625"/>
        </pc:sldMkLst>
      </pc:sldChg>
      <pc:sldChg chg="add del ord">
        <pc:chgData name="Raphaella ASHRAF" userId="5247841d-d595-4c30-b58a-9906097315c5" providerId="ADAL" clId="{49E1EDC4-949C-4C9A-9207-A653EB98B0DF}" dt="2024-11-19T09:17:18.019" v="4767" actId="47"/>
        <pc:sldMkLst>
          <pc:docMk/>
          <pc:sldMk cId="3661951170" sldId="2147476626"/>
        </pc:sldMkLst>
      </pc:sldChg>
      <pc:sldChg chg="add del ord">
        <pc:chgData name="Raphaella ASHRAF" userId="5247841d-d595-4c30-b58a-9906097315c5" providerId="ADAL" clId="{49E1EDC4-949C-4C9A-9207-A653EB98B0DF}" dt="2024-11-19T09:17:18.019" v="4767" actId="47"/>
        <pc:sldMkLst>
          <pc:docMk/>
          <pc:sldMk cId="1598856218" sldId="2147476627"/>
        </pc:sldMkLst>
      </pc:sldChg>
      <pc:sldChg chg="add del ord">
        <pc:chgData name="Raphaella ASHRAF" userId="5247841d-d595-4c30-b58a-9906097315c5" providerId="ADAL" clId="{49E1EDC4-949C-4C9A-9207-A653EB98B0DF}" dt="2024-11-19T09:17:18.019" v="4767" actId="47"/>
        <pc:sldMkLst>
          <pc:docMk/>
          <pc:sldMk cId="2001840070" sldId="2147476628"/>
        </pc:sldMkLst>
      </pc:sldChg>
      <pc:sldChg chg="add del ord">
        <pc:chgData name="Raphaella ASHRAF" userId="5247841d-d595-4c30-b58a-9906097315c5" providerId="ADAL" clId="{49E1EDC4-949C-4C9A-9207-A653EB98B0DF}" dt="2024-11-19T09:17:18.019" v="4767" actId="47"/>
        <pc:sldMkLst>
          <pc:docMk/>
          <pc:sldMk cId="1465982080" sldId="2147476629"/>
        </pc:sldMkLst>
      </pc:sldChg>
      <pc:sldChg chg="add del ord">
        <pc:chgData name="Raphaella ASHRAF" userId="5247841d-d595-4c30-b58a-9906097315c5" providerId="ADAL" clId="{49E1EDC4-949C-4C9A-9207-A653EB98B0DF}" dt="2024-11-19T09:17:18.019" v="4767" actId="47"/>
        <pc:sldMkLst>
          <pc:docMk/>
          <pc:sldMk cId="227443848" sldId="2147476630"/>
        </pc:sldMkLst>
      </pc:sldChg>
      <pc:sldChg chg="add del ord">
        <pc:chgData name="Raphaella ASHRAF" userId="5247841d-d595-4c30-b58a-9906097315c5" providerId="ADAL" clId="{49E1EDC4-949C-4C9A-9207-A653EB98B0DF}" dt="2024-11-19T09:17:18.019" v="4767" actId="47"/>
        <pc:sldMkLst>
          <pc:docMk/>
          <pc:sldMk cId="3509329824" sldId="2147476631"/>
        </pc:sldMkLst>
      </pc:sldChg>
      <pc:sldChg chg="add del ord">
        <pc:chgData name="Raphaella ASHRAF" userId="5247841d-d595-4c30-b58a-9906097315c5" providerId="ADAL" clId="{49E1EDC4-949C-4C9A-9207-A653EB98B0DF}" dt="2024-11-19T09:17:18.019" v="4767" actId="47"/>
        <pc:sldMkLst>
          <pc:docMk/>
          <pc:sldMk cId="3516707226" sldId="2147476632"/>
        </pc:sldMkLst>
      </pc:sldChg>
      <pc:sldChg chg="add del ord">
        <pc:chgData name="Raphaella ASHRAF" userId="5247841d-d595-4c30-b58a-9906097315c5" providerId="ADAL" clId="{49E1EDC4-949C-4C9A-9207-A653EB98B0DF}" dt="2024-11-19T09:17:18.019" v="4767" actId="47"/>
        <pc:sldMkLst>
          <pc:docMk/>
          <pc:sldMk cId="2154718949" sldId="2147476633"/>
        </pc:sldMkLst>
      </pc:sldChg>
      <pc:sldChg chg="add del ord">
        <pc:chgData name="Raphaella ASHRAF" userId="5247841d-d595-4c30-b58a-9906097315c5" providerId="ADAL" clId="{49E1EDC4-949C-4C9A-9207-A653EB98B0DF}" dt="2024-11-19T09:17:18.019" v="4767" actId="47"/>
        <pc:sldMkLst>
          <pc:docMk/>
          <pc:sldMk cId="3644362224" sldId="2147476634"/>
        </pc:sldMkLst>
      </pc:sldChg>
      <pc:sldChg chg="add del ord">
        <pc:chgData name="Raphaella ASHRAF" userId="5247841d-d595-4c30-b58a-9906097315c5" providerId="ADAL" clId="{49E1EDC4-949C-4C9A-9207-A653EB98B0DF}" dt="2024-11-19T09:17:18.019" v="4767" actId="47"/>
        <pc:sldMkLst>
          <pc:docMk/>
          <pc:sldMk cId="3454750968" sldId="2147476635"/>
        </pc:sldMkLst>
      </pc:sldChg>
      <pc:sldChg chg="add del ord">
        <pc:chgData name="Raphaella ASHRAF" userId="5247841d-d595-4c30-b58a-9906097315c5" providerId="ADAL" clId="{49E1EDC4-949C-4C9A-9207-A653EB98B0DF}" dt="2024-11-19T09:17:18.019" v="4767" actId="47"/>
        <pc:sldMkLst>
          <pc:docMk/>
          <pc:sldMk cId="3504742454" sldId="2147476636"/>
        </pc:sldMkLst>
      </pc:sldChg>
      <pc:sldChg chg="add del ord">
        <pc:chgData name="Raphaella ASHRAF" userId="5247841d-d595-4c30-b58a-9906097315c5" providerId="ADAL" clId="{49E1EDC4-949C-4C9A-9207-A653EB98B0DF}" dt="2024-11-19T09:17:18.019" v="4767" actId="47"/>
        <pc:sldMkLst>
          <pc:docMk/>
          <pc:sldMk cId="1099478137" sldId="2147476637"/>
        </pc:sldMkLst>
      </pc:sldChg>
      <pc:sldChg chg="add del ord">
        <pc:chgData name="Raphaella ASHRAF" userId="5247841d-d595-4c30-b58a-9906097315c5" providerId="ADAL" clId="{49E1EDC4-949C-4C9A-9207-A653EB98B0DF}" dt="2024-11-19T09:17:18.019" v="4767" actId="47"/>
        <pc:sldMkLst>
          <pc:docMk/>
          <pc:sldMk cId="3118166328" sldId="2147476638"/>
        </pc:sldMkLst>
      </pc:sldChg>
      <pc:sldChg chg="add del ord">
        <pc:chgData name="Raphaella ASHRAF" userId="5247841d-d595-4c30-b58a-9906097315c5" providerId="ADAL" clId="{49E1EDC4-949C-4C9A-9207-A653EB98B0DF}" dt="2024-11-19T09:17:18.019" v="4767" actId="47"/>
        <pc:sldMkLst>
          <pc:docMk/>
          <pc:sldMk cId="2946026539" sldId="2147476639"/>
        </pc:sldMkLst>
      </pc:sldChg>
      <pc:sldChg chg="add del ord">
        <pc:chgData name="Raphaella ASHRAF" userId="5247841d-d595-4c30-b58a-9906097315c5" providerId="ADAL" clId="{49E1EDC4-949C-4C9A-9207-A653EB98B0DF}" dt="2024-11-19T09:17:18.019" v="4767" actId="47"/>
        <pc:sldMkLst>
          <pc:docMk/>
          <pc:sldMk cId="3998872232" sldId="2147476640"/>
        </pc:sldMkLst>
      </pc:sldChg>
      <pc:sldChg chg="add del ord">
        <pc:chgData name="Raphaella ASHRAF" userId="5247841d-d595-4c30-b58a-9906097315c5" providerId="ADAL" clId="{49E1EDC4-949C-4C9A-9207-A653EB98B0DF}" dt="2024-11-19T09:17:18.019" v="4767" actId="47"/>
        <pc:sldMkLst>
          <pc:docMk/>
          <pc:sldMk cId="1328806132" sldId="2147476641"/>
        </pc:sldMkLst>
      </pc:sldChg>
      <pc:sldChg chg="add del ord">
        <pc:chgData name="Raphaella ASHRAF" userId="5247841d-d595-4c30-b58a-9906097315c5" providerId="ADAL" clId="{49E1EDC4-949C-4C9A-9207-A653EB98B0DF}" dt="2024-11-19T09:17:18.019" v="4767" actId="47"/>
        <pc:sldMkLst>
          <pc:docMk/>
          <pc:sldMk cId="1455233439" sldId="2147476642"/>
        </pc:sldMkLst>
      </pc:sldChg>
      <pc:sldChg chg="add del ord">
        <pc:chgData name="Raphaella ASHRAF" userId="5247841d-d595-4c30-b58a-9906097315c5" providerId="ADAL" clId="{49E1EDC4-949C-4C9A-9207-A653EB98B0DF}" dt="2024-11-19T09:17:18.019" v="4767" actId="47"/>
        <pc:sldMkLst>
          <pc:docMk/>
          <pc:sldMk cId="4023910258" sldId="2147476643"/>
        </pc:sldMkLst>
      </pc:sldChg>
      <pc:sldChg chg="add del ord">
        <pc:chgData name="Raphaella ASHRAF" userId="5247841d-d595-4c30-b58a-9906097315c5" providerId="ADAL" clId="{49E1EDC4-949C-4C9A-9207-A653EB98B0DF}" dt="2024-11-19T09:17:18.019" v="4767" actId="47"/>
        <pc:sldMkLst>
          <pc:docMk/>
          <pc:sldMk cId="194694991" sldId="2147476644"/>
        </pc:sldMkLst>
      </pc:sldChg>
      <pc:sldChg chg="add del ord">
        <pc:chgData name="Raphaella ASHRAF" userId="5247841d-d595-4c30-b58a-9906097315c5" providerId="ADAL" clId="{49E1EDC4-949C-4C9A-9207-A653EB98B0DF}" dt="2024-11-19T09:17:18.019" v="4767" actId="47"/>
        <pc:sldMkLst>
          <pc:docMk/>
          <pc:sldMk cId="864338347" sldId="2147476645"/>
        </pc:sldMkLst>
      </pc:sldChg>
      <pc:sldChg chg="add del ord">
        <pc:chgData name="Raphaella ASHRAF" userId="5247841d-d595-4c30-b58a-9906097315c5" providerId="ADAL" clId="{49E1EDC4-949C-4C9A-9207-A653EB98B0DF}" dt="2024-11-19T09:17:18.019" v="4767" actId="47"/>
        <pc:sldMkLst>
          <pc:docMk/>
          <pc:sldMk cId="2619375036" sldId="2147476646"/>
        </pc:sldMkLst>
      </pc:sldChg>
      <pc:sldChg chg="add del ord">
        <pc:chgData name="Raphaella ASHRAF" userId="5247841d-d595-4c30-b58a-9906097315c5" providerId="ADAL" clId="{49E1EDC4-949C-4C9A-9207-A653EB98B0DF}" dt="2024-11-19T09:17:18.019" v="4767" actId="47"/>
        <pc:sldMkLst>
          <pc:docMk/>
          <pc:sldMk cId="2233242120" sldId="2147476647"/>
        </pc:sldMkLst>
      </pc:sldChg>
      <pc:sldChg chg="add del ord">
        <pc:chgData name="Raphaella ASHRAF" userId="5247841d-d595-4c30-b58a-9906097315c5" providerId="ADAL" clId="{49E1EDC4-949C-4C9A-9207-A653EB98B0DF}" dt="2024-11-19T09:17:18.019" v="4767" actId="47"/>
        <pc:sldMkLst>
          <pc:docMk/>
          <pc:sldMk cId="894732182" sldId="2147476648"/>
        </pc:sldMkLst>
      </pc:sldChg>
      <pc:sldChg chg="add del ord">
        <pc:chgData name="Raphaella ASHRAF" userId="5247841d-d595-4c30-b58a-9906097315c5" providerId="ADAL" clId="{49E1EDC4-949C-4C9A-9207-A653EB98B0DF}" dt="2024-11-19T09:17:18.019" v="4767" actId="47"/>
        <pc:sldMkLst>
          <pc:docMk/>
          <pc:sldMk cId="3150880116" sldId="2147476649"/>
        </pc:sldMkLst>
      </pc:sldChg>
      <pc:sldChg chg="add del ord">
        <pc:chgData name="Raphaella ASHRAF" userId="5247841d-d595-4c30-b58a-9906097315c5" providerId="ADAL" clId="{49E1EDC4-949C-4C9A-9207-A653EB98B0DF}" dt="2024-11-19T09:17:18.019" v="4767" actId="47"/>
        <pc:sldMkLst>
          <pc:docMk/>
          <pc:sldMk cId="2701945022" sldId="2147476650"/>
        </pc:sldMkLst>
      </pc:sldChg>
      <pc:sldChg chg="add del ord">
        <pc:chgData name="Raphaella ASHRAF" userId="5247841d-d595-4c30-b58a-9906097315c5" providerId="ADAL" clId="{49E1EDC4-949C-4C9A-9207-A653EB98B0DF}" dt="2024-11-19T09:17:18.019" v="4767" actId="47"/>
        <pc:sldMkLst>
          <pc:docMk/>
          <pc:sldMk cId="414636361" sldId="2147476651"/>
        </pc:sldMkLst>
      </pc:sldChg>
      <pc:sldChg chg="add del ord">
        <pc:chgData name="Raphaella ASHRAF" userId="5247841d-d595-4c30-b58a-9906097315c5" providerId="ADAL" clId="{49E1EDC4-949C-4C9A-9207-A653EB98B0DF}" dt="2024-11-19T09:17:18.019" v="4767" actId="47"/>
        <pc:sldMkLst>
          <pc:docMk/>
          <pc:sldMk cId="3665412593" sldId="2147476652"/>
        </pc:sldMkLst>
      </pc:sldChg>
      <pc:sldChg chg="add del ord">
        <pc:chgData name="Raphaella ASHRAF" userId="5247841d-d595-4c30-b58a-9906097315c5" providerId="ADAL" clId="{49E1EDC4-949C-4C9A-9207-A653EB98B0DF}" dt="2024-11-19T09:17:18.019" v="4767" actId="47"/>
        <pc:sldMkLst>
          <pc:docMk/>
          <pc:sldMk cId="3540692746" sldId="2147476653"/>
        </pc:sldMkLst>
      </pc:sldChg>
      <pc:sldChg chg="add del ord">
        <pc:chgData name="Raphaella ASHRAF" userId="5247841d-d595-4c30-b58a-9906097315c5" providerId="ADAL" clId="{49E1EDC4-949C-4C9A-9207-A653EB98B0DF}" dt="2024-11-19T09:17:18.019" v="4767" actId="47"/>
        <pc:sldMkLst>
          <pc:docMk/>
          <pc:sldMk cId="176889009" sldId="2147476654"/>
        </pc:sldMkLst>
      </pc:sldChg>
      <pc:sldChg chg="add del ord">
        <pc:chgData name="Raphaella ASHRAF" userId="5247841d-d595-4c30-b58a-9906097315c5" providerId="ADAL" clId="{49E1EDC4-949C-4C9A-9207-A653EB98B0DF}" dt="2024-11-19T09:17:18.019" v="4767" actId="47"/>
        <pc:sldMkLst>
          <pc:docMk/>
          <pc:sldMk cId="1960668103" sldId="2147476655"/>
        </pc:sldMkLst>
      </pc:sldChg>
      <pc:sldChg chg="add del ord">
        <pc:chgData name="Raphaella ASHRAF" userId="5247841d-d595-4c30-b58a-9906097315c5" providerId="ADAL" clId="{49E1EDC4-949C-4C9A-9207-A653EB98B0DF}" dt="2024-11-19T09:17:18.019" v="4767" actId="47"/>
        <pc:sldMkLst>
          <pc:docMk/>
          <pc:sldMk cId="2406241506" sldId="2147476656"/>
        </pc:sldMkLst>
      </pc:sldChg>
      <pc:sldChg chg="add del ord">
        <pc:chgData name="Raphaella ASHRAF" userId="5247841d-d595-4c30-b58a-9906097315c5" providerId="ADAL" clId="{49E1EDC4-949C-4C9A-9207-A653EB98B0DF}" dt="2024-11-19T09:17:18.019" v="4767" actId="47"/>
        <pc:sldMkLst>
          <pc:docMk/>
          <pc:sldMk cId="3279122524" sldId="2147476657"/>
        </pc:sldMkLst>
      </pc:sldChg>
      <pc:sldChg chg="add del ord">
        <pc:chgData name="Raphaella ASHRAF" userId="5247841d-d595-4c30-b58a-9906097315c5" providerId="ADAL" clId="{49E1EDC4-949C-4C9A-9207-A653EB98B0DF}" dt="2024-11-19T09:17:18.019" v="4767" actId="47"/>
        <pc:sldMkLst>
          <pc:docMk/>
          <pc:sldMk cId="3804738913" sldId="2147476658"/>
        </pc:sldMkLst>
      </pc:sldChg>
      <pc:sldChg chg="add del ord">
        <pc:chgData name="Raphaella ASHRAF" userId="5247841d-d595-4c30-b58a-9906097315c5" providerId="ADAL" clId="{49E1EDC4-949C-4C9A-9207-A653EB98B0DF}" dt="2024-11-19T09:17:18.019" v="4767" actId="47"/>
        <pc:sldMkLst>
          <pc:docMk/>
          <pc:sldMk cId="3536483464" sldId="2147476659"/>
        </pc:sldMkLst>
      </pc:sldChg>
      <pc:sldChg chg="add del ord">
        <pc:chgData name="Raphaella ASHRAF" userId="5247841d-d595-4c30-b58a-9906097315c5" providerId="ADAL" clId="{49E1EDC4-949C-4C9A-9207-A653EB98B0DF}" dt="2024-11-19T09:17:18.019" v="4767" actId="47"/>
        <pc:sldMkLst>
          <pc:docMk/>
          <pc:sldMk cId="2250071232" sldId="2147476660"/>
        </pc:sldMkLst>
      </pc:sldChg>
      <pc:sldChg chg="add del ord">
        <pc:chgData name="Raphaella ASHRAF" userId="5247841d-d595-4c30-b58a-9906097315c5" providerId="ADAL" clId="{49E1EDC4-949C-4C9A-9207-A653EB98B0DF}" dt="2024-11-19T09:17:18.019" v="4767" actId="47"/>
        <pc:sldMkLst>
          <pc:docMk/>
          <pc:sldMk cId="2489729978" sldId="2147476661"/>
        </pc:sldMkLst>
      </pc:sldChg>
      <pc:sldChg chg="add del ord">
        <pc:chgData name="Raphaella ASHRAF" userId="5247841d-d595-4c30-b58a-9906097315c5" providerId="ADAL" clId="{49E1EDC4-949C-4C9A-9207-A653EB98B0DF}" dt="2024-11-19T09:17:18.019" v="4767" actId="47"/>
        <pc:sldMkLst>
          <pc:docMk/>
          <pc:sldMk cId="2690437438" sldId="2147476662"/>
        </pc:sldMkLst>
      </pc:sldChg>
      <pc:sldChg chg="add del ord">
        <pc:chgData name="Raphaella ASHRAF" userId="5247841d-d595-4c30-b58a-9906097315c5" providerId="ADAL" clId="{49E1EDC4-949C-4C9A-9207-A653EB98B0DF}" dt="2024-11-19T09:17:18.019" v="4767" actId="47"/>
        <pc:sldMkLst>
          <pc:docMk/>
          <pc:sldMk cId="3944224603" sldId="2147476663"/>
        </pc:sldMkLst>
      </pc:sldChg>
      <pc:sldChg chg="add del ord">
        <pc:chgData name="Raphaella ASHRAF" userId="5247841d-d595-4c30-b58a-9906097315c5" providerId="ADAL" clId="{49E1EDC4-949C-4C9A-9207-A653EB98B0DF}" dt="2024-11-19T09:17:18.019" v="4767" actId="47"/>
        <pc:sldMkLst>
          <pc:docMk/>
          <pc:sldMk cId="66735500" sldId="2147476664"/>
        </pc:sldMkLst>
      </pc:sldChg>
      <pc:sldChg chg="add del ord">
        <pc:chgData name="Raphaella ASHRAF" userId="5247841d-d595-4c30-b58a-9906097315c5" providerId="ADAL" clId="{49E1EDC4-949C-4C9A-9207-A653EB98B0DF}" dt="2024-11-19T09:17:18.019" v="4767" actId="47"/>
        <pc:sldMkLst>
          <pc:docMk/>
          <pc:sldMk cId="1161997281" sldId="2147476665"/>
        </pc:sldMkLst>
      </pc:sldChg>
      <pc:sldChg chg="add del ord">
        <pc:chgData name="Raphaella ASHRAF" userId="5247841d-d595-4c30-b58a-9906097315c5" providerId="ADAL" clId="{49E1EDC4-949C-4C9A-9207-A653EB98B0DF}" dt="2024-11-19T09:17:18.019" v="4767" actId="47"/>
        <pc:sldMkLst>
          <pc:docMk/>
          <pc:sldMk cId="1113614282" sldId="2147476666"/>
        </pc:sldMkLst>
      </pc:sldChg>
      <pc:sldChg chg="add del ord">
        <pc:chgData name="Raphaella ASHRAF" userId="5247841d-d595-4c30-b58a-9906097315c5" providerId="ADAL" clId="{49E1EDC4-949C-4C9A-9207-A653EB98B0DF}" dt="2024-11-19T09:17:18.019" v="4767" actId="47"/>
        <pc:sldMkLst>
          <pc:docMk/>
          <pc:sldMk cId="383536742" sldId="2147476667"/>
        </pc:sldMkLst>
      </pc:sldChg>
      <pc:sldChg chg="add del ord">
        <pc:chgData name="Raphaella ASHRAF" userId="5247841d-d595-4c30-b58a-9906097315c5" providerId="ADAL" clId="{49E1EDC4-949C-4C9A-9207-A653EB98B0DF}" dt="2024-11-19T09:17:18.019" v="4767" actId="47"/>
        <pc:sldMkLst>
          <pc:docMk/>
          <pc:sldMk cId="356723182" sldId="2147476668"/>
        </pc:sldMkLst>
      </pc:sldChg>
      <pc:sldChg chg="add del ord">
        <pc:chgData name="Raphaella ASHRAF" userId="5247841d-d595-4c30-b58a-9906097315c5" providerId="ADAL" clId="{49E1EDC4-949C-4C9A-9207-A653EB98B0DF}" dt="2024-11-19T09:17:18.019" v="4767" actId="47"/>
        <pc:sldMkLst>
          <pc:docMk/>
          <pc:sldMk cId="816489642" sldId="2147476669"/>
        </pc:sldMkLst>
      </pc:sldChg>
      <pc:sldChg chg="add del ord">
        <pc:chgData name="Raphaella ASHRAF" userId="5247841d-d595-4c30-b58a-9906097315c5" providerId="ADAL" clId="{49E1EDC4-949C-4C9A-9207-A653EB98B0DF}" dt="2024-11-19T09:17:18.019" v="4767" actId="47"/>
        <pc:sldMkLst>
          <pc:docMk/>
          <pc:sldMk cId="1616565743" sldId="2147476670"/>
        </pc:sldMkLst>
      </pc:sldChg>
      <pc:sldChg chg="add del ord">
        <pc:chgData name="Raphaella ASHRAF" userId="5247841d-d595-4c30-b58a-9906097315c5" providerId="ADAL" clId="{49E1EDC4-949C-4C9A-9207-A653EB98B0DF}" dt="2024-11-19T09:17:18.019" v="4767" actId="47"/>
        <pc:sldMkLst>
          <pc:docMk/>
          <pc:sldMk cId="582505128" sldId="2147476671"/>
        </pc:sldMkLst>
      </pc:sldChg>
      <pc:sldChg chg="add del ord">
        <pc:chgData name="Raphaella ASHRAF" userId="5247841d-d595-4c30-b58a-9906097315c5" providerId="ADAL" clId="{49E1EDC4-949C-4C9A-9207-A653EB98B0DF}" dt="2024-11-19T09:17:18.019" v="4767" actId="47"/>
        <pc:sldMkLst>
          <pc:docMk/>
          <pc:sldMk cId="2093412548" sldId="2147476672"/>
        </pc:sldMkLst>
      </pc:sldChg>
      <pc:sldChg chg="add del ord">
        <pc:chgData name="Raphaella ASHRAF" userId="5247841d-d595-4c30-b58a-9906097315c5" providerId="ADAL" clId="{49E1EDC4-949C-4C9A-9207-A653EB98B0DF}" dt="2024-11-19T09:17:18.019" v="4767" actId="47"/>
        <pc:sldMkLst>
          <pc:docMk/>
          <pc:sldMk cId="3692018312" sldId="2147476673"/>
        </pc:sldMkLst>
      </pc:sldChg>
      <pc:sldChg chg="add del ord">
        <pc:chgData name="Raphaella ASHRAF" userId="5247841d-d595-4c30-b58a-9906097315c5" providerId="ADAL" clId="{49E1EDC4-949C-4C9A-9207-A653EB98B0DF}" dt="2024-11-19T09:17:18.019" v="4767" actId="47"/>
        <pc:sldMkLst>
          <pc:docMk/>
          <pc:sldMk cId="548287546" sldId="2147476674"/>
        </pc:sldMkLst>
      </pc:sldChg>
      <pc:sldChg chg="add del ord">
        <pc:chgData name="Raphaella ASHRAF" userId="5247841d-d595-4c30-b58a-9906097315c5" providerId="ADAL" clId="{49E1EDC4-949C-4C9A-9207-A653EB98B0DF}" dt="2024-11-19T09:17:18.019" v="4767" actId="47"/>
        <pc:sldMkLst>
          <pc:docMk/>
          <pc:sldMk cId="309706532" sldId="2147476675"/>
        </pc:sldMkLst>
      </pc:sldChg>
      <pc:sldChg chg="add del ord">
        <pc:chgData name="Raphaella ASHRAF" userId="5247841d-d595-4c30-b58a-9906097315c5" providerId="ADAL" clId="{49E1EDC4-949C-4C9A-9207-A653EB98B0DF}" dt="2024-11-19T09:17:18.019" v="4767" actId="47"/>
        <pc:sldMkLst>
          <pc:docMk/>
          <pc:sldMk cId="1769899995" sldId="2147476676"/>
        </pc:sldMkLst>
      </pc:sldChg>
      <pc:sldChg chg="add del ord">
        <pc:chgData name="Raphaella ASHRAF" userId="5247841d-d595-4c30-b58a-9906097315c5" providerId="ADAL" clId="{49E1EDC4-949C-4C9A-9207-A653EB98B0DF}" dt="2024-11-19T09:17:18.019" v="4767" actId="47"/>
        <pc:sldMkLst>
          <pc:docMk/>
          <pc:sldMk cId="4124597583" sldId="2147476677"/>
        </pc:sldMkLst>
      </pc:sldChg>
      <pc:sldChg chg="add del ord">
        <pc:chgData name="Raphaella ASHRAF" userId="5247841d-d595-4c30-b58a-9906097315c5" providerId="ADAL" clId="{49E1EDC4-949C-4C9A-9207-A653EB98B0DF}" dt="2024-11-19T09:17:25.947" v="4768" actId="47"/>
        <pc:sldMkLst>
          <pc:docMk/>
          <pc:sldMk cId="1806265441" sldId="2147476678"/>
        </pc:sldMkLst>
      </pc:sldChg>
      <pc:sldChg chg="add del ord">
        <pc:chgData name="Raphaella ASHRAF" userId="5247841d-d595-4c30-b58a-9906097315c5" providerId="ADAL" clId="{49E1EDC4-949C-4C9A-9207-A653EB98B0DF}" dt="2024-11-19T09:17:25.947" v="4768" actId="47"/>
        <pc:sldMkLst>
          <pc:docMk/>
          <pc:sldMk cId="3231055232" sldId="2147476679"/>
        </pc:sldMkLst>
      </pc:sldChg>
      <pc:sldChg chg="add del ord">
        <pc:chgData name="Raphaella ASHRAF" userId="5247841d-d595-4c30-b58a-9906097315c5" providerId="ADAL" clId="{49E1EDC4-949C-4C9A-9207-A653EB98B0DF}" dt="2024-11-19T09:17:25.947" v="4768" actId="47"/>
        <pc:sldMkLst>
          <pc:docMk/>
          <pc:sldMk cId="679362193" sldId="2147476680"/>
        </pc:sldMkLst>
      </pc:sldChg>
      <pc:sldChg chg="add del ord">
        <pc:chgData name="Raphaella ASHRAF" userId="5247841d-d595-4c30-b58a-9906097315c5" providerId="ADAL" clId="{49E1EDC4-949C-4C9A-9207-A653EB98B0DF}" dt="2024-11-19T09:17:25.947" v="4768" actId="47"/>
        <pc:sldMkLst>
          <pc:docMk/>
          <pc:sldMk cId="437589639" sldId="2147476681"/>
        </pc:sldMkLst>
      </pc:sldChg>
      <pc:sldChg chg="add del ord">
        <pc:chgData name="Raphaella ASHRAF" userId="5247841d-d595-4c30-b58a-9906097315c5" providerId="ADAL" clId="{49E1EDC4-949C-4C9A-9207-A653EB98B0DF}" dt="2024-11-19T09:17:25.947" v="4768" actId="47"/>
        <pc:sldMkLst>
          <pc:docMk/>
          <pc:sldMk cId="3591736924" sldId="2147476682"/>
        </pc:sldMkLst>
      </pc:sldChg>
      <pc:sldChg chg="add del ord">
        <pc:chgData name="Raphaella ASHRAF" userId="5247841d-d595-4c30-b58a-9906097315c5" providerId="ADAL" clId="{49E1EDC4-949C-4C9A-9207-A653EB98B0DF}" dt="2024-11-19T09:17:25.947" v="4768" actId="47"/>
        <pc:sldMkLst>
          <pc:docMk/>
          <pc:sldMk cId="3146518735" sldId="2147476683"/>
        </pc:sldMkLst>
      </pc:sldChg>
      <pc:sldChg chg="add del ord">
        <pc:chgData name="Raphaella ASHRAF" userId="5247841d-d595-4c30-b58a-9906097315c5" providerId="ADAL" clId="{49E1EDC4-949C-4C9A-9207-A653EB98B0DF}" dt="2024-11-19T09:17:25.947" v="4768" actId="47"/>
        <pc:sldMkLst>
          <pc:docMk/>
          <pc:sldMk cId="2914498954" sldId="2147476684"/>
        </pc:sldMkLst>
      </pc:sldChg>
      <pc:sldChg chg="add del ord">
        <pc:chgData name="Raphaella ASHRAF" userId="5247841d-d595-4c30-b58a-9906097315c5" providerId="ADAL" clId="{49E1EDC4-949C-4C9A-9207-A653EB98B0DF}" dt="2024-11-19T09:17:25.947" v="4768" actId="47"/>
        <pc:sldMkLst>
          <pc:docMk/>
          <pc:sldMk cId="2803774035" sldId="2147476685"/>
        </pc:sldMkLst>
      </pc:sldChg>
      <pc:sldChg chg="add del ord">
        <pc:chgData name="Raphaella ASHRAF" userId="5247841d-d595-4c30-b58a-9906097315c5" providerId="ADAL" clId="{49E1EDC4-949C-4C9A-9207-A653EB98B0DF}" dt="2024-11-19T09:17:25.947" v="4768" actId="47"/>
        <pc:sldMkLst>
          <pc:docMk/>
          <pc:sldMk cId="825630514" sldId="2147476686"/>
        </pc:sldMkLst>
      </pc:sldChg>
      <pc:sldChg chg="add del ord">
        <pc:chgData name="Raphaella ASHRAF" userId="5247841d-d595-4c30-b58a-9906097315c5" providerId="ADAL" clId="{49E1EDC4-949C-4C9A-9207-A653EB98B0DF}" dt="2024-11-19T09:17:25.947" v="4768" actId="47"/>
        <pc:sldMkLst>
          <pc:docMk/>
          <pc:sldMk cId="1815159453" sldId="2147476687"/>
        </pc:sldMkLst>
      </pc:sldChg>
      <pc:sldChg chg="add del ord">
        <pc:chgData name="Raphaella ASHRAF" userId="5247841d-d595-4c30-b58a-9906097315c5" providerId="ADAL" clId="{49E1EDC4-949C-4C9A-9207-A653EB98B0DF}" dt="2024-11-19T09:17:25.947" v="4768" actId="47"/>
        <pc:sldMkLst>
          <pc:docMk/>
          <pc:sldMk cId="3546728525" sldId="2147476688"/>
        </pc:sldMkLst>
      </pc:sldChg>
      <pc:sldChg chg="add del ord">
        <pc:chgData name="Raphaella ASHRAF" userId="5247841d-d595-4c30-b58a-9906097315c5" providerId="ADAL" clId="{49E1EDC4-949C-4C9A-9207-A653EB98B0DF}" dt="2024-11-19T09:17:25.947" v="4768" actId="47"/>
        <pc:sldMkLst>
          <pc:docMk/>
          <pc:sldMk cId="1670985473" sldId="2147476689"/>
        </pc:sldMkLst>
      </pc:sldChg>
      <pc:sldChg chg="add del ord">
        <pc:chgData name="Raphaella ASHRAF" userId="5247841d-d595-4c30-b58a-9906097315c5" providerId="ADAL" clId="{49E1EDC4-949C-4C9A-9207-A653EB98B0DF}" dt="2024-11-19T09:17:25.947" v="4768" actId="47"/>
        <pc:sldMkLst>
          <pc:docMk/>
          <pc:sldMk cId="1777127939" sldId="2147476690"/>
        </pc:sldMkLst>
      </pc:sldChg>
      <pc:sldChg chg="add del ord">
        <pc:chgData name="Raphaella ASHRAF" userId="5247841d-d595-4c30-b58a-9906097315c5" providerId="ADAL" clId="{49E1EDC4-949C-4C9A-9207-A653EB98B0DF}" dt="2024-11-19T09:17:25.947" v="4768" actId="47"/>
        <pc:sldMkLst>
          <pc:docMk/>
          <pc:sldMk cId="2800244326" sldId="2147476691"/>
        </pc:sldMkLst>
      </pc:sldChg>
      <pc:sldChg chg="add del ord">
        <pc:chgData name="Raphaella ASHRAF" userId="5247841d-d595-4c30-b58a-9906097315c5" providerId="ADAL" clId="{49E1EDC4-949C-4C9A-9207-A653EB98B0DF}" dt="2024-11-19T09:17:25.947" v="4768" actId="47"/>
        <pc:sldMkLst>
          <pc:docMk/>
          <pc:sldMk cId="1979637977" sldId="2147476692"/>
        </pc:sldMkLst>
      </pc:sldChg>
      <pc:sldChg chg="add del ord">
        <pc:chgData name="Raphaella ASHRAF" userId="5247841d-d595-4c30-b58a-9906097315c5" providerId="ADAL" clId="{49E1EDC4-949C-4C9A-9207-A653EB98B0DF}" dt="2024-11-19T09:17:25.947" v="4768" actId="47"/>
        <pc:sldMkLst>
          <pc:docMk/>
          <pc:sldMk cId="3525355158" sldId="2147476693"/>
        </pc:sldMkLst>
      </pc:sldChg>
      <pc:sldChg chg="add del ord">
        <pc:chgData name="Raphaella ASHRAF" userId="5247841d-d595-4c30-b58a-9906097315c5" providerId="ADAL" clId="{49E1EDC4-949C-4C9A-9207-A653EB98B0DF}" dt="2024-11-19T09:17:25.947" v="4768" actId="47"/>
        <pc:sldMkLst>
          <pc:docMk/>
          <pc:sldMk cId="2022581555" sldId="2147476694"/>
        </pc:sldMkLst>
      </pc:sldChg>
      <pc:sldChg chg="add del ord">
        <pc:chgData name="Raphaella ASHRAF" userId="5247841d-d595-4c30-b58a-9906097315c5" providerId="ADAL" clId="{49E1EDC4-949C-4C9A-9207-A653EB98B0DF}" dt="2024-11-19T09:17:25.947" v="4768" actId="47"/>
        <pc:sldMkLst>
          <pc:docMk/>
          <pc:sldMk cId="4112479229" sldId="2147476695"/>
        </pc:sldMkLst>
      </pc:sldChg>
      <pc:sldChg chg="add del ord">
        <pc:chgData name="Raphaella ASHRAF" userId="5247841d-d595-4c30-b58a-9906097315c5" providerId="ADAL" clId="{49E1EDC4-949C-4C9A-9207-A653EB98B0DF}" dt="2024-11-19T09:17:25.947" v="4768" actId="47"/>
        <pc:sldMkLst>
          <pc:docMk/>
          <pc:sldMk cId="3015081581" sldId="2147476696"/>
        </pc:sldMkLst>
      </pc:sldChg>
      <pc:sldChg chg="add del ord">
        <pc:chgData name="Raphaella ASHRAF" userId="5247841d-d595-4c30-b58a-9906097315c5" providerId="ADAL" clId="{49E1EDC4-949C-4C9A-9207-A653EB98B0DF}" dt="2024-11-19T09:17:25.947" v="4768" actId="47"/>
        <pc:sldMkLst>
          <pc:docMk/>
          <pc:sldMk cId="2289714513" sldId="2147476697"/>
        </pc:sldMkLst>
      </pc:sldChg>
      <pc:sldChg chg="add del ord">
        <pc:chgData name="Raphaella ASHRAF" userId="5247841d-d595-4c30-b58a-9906097315c5" providerId="ADAL" clId="{49E1EDC4-949C-4C9A-9207-A653EB98B0DF}" dt="2024-11-19T09:17:25.947" v="4768" actId="47"/>
        <pc:sldMkLst>
          <pc:docMk/>
          <pc:sldMk cId="2991801728" sldId="2147476698"/>
        </pc:sldMkLst>
      </pc:sldChg>
      <pc:sldChg chg="add del ord">
        <pc:chgData name="Raphaella ASHRAF" userId="5247841d-d595-4c30-b58a-9906097315c5" providerId="ADAL" clId="{49E1EDC4-949C-4C9A-9207-A653EB98B0DF}" dt="2024-11-19T09:17:25.947" v="4768" actId="47"/>
        <pc:sldMkLst>
          <pc:docMk/>
          <pc:sldMk cId="2374501064" sldId="2147476699"/>
        </pc:sldMkLst>
      </pc:sldChg>
      <pc:sldChg chg="add del ord">
        <pc:chgData name="Raphaella ASHRAF" userId="5247841d-d595-4c30-b58a-9906097315c5" providerId="ADAL" clId="{49E1EDC4-949C-4C9A-9207-A653EB98B0DF}" dt="2024-11-19T09:17:25.947" v="4768" actId="47"/>
        <pc:sldMkLst>
          <pc:docMk/>
          <pc:sldMk cId="3023247989" sldId="2147476700"/>
        </pc:sldMkLst>
      </pc:sldChg>
      <pc:sldChg chg="add del ord">
        <pc:chgData name="Raphaella ASHRAF" userId="5247841d-d595-4c30-b58a-9906097315c5" providerId="ADAL" clId="{49E1EDC4-949C-4C9A-9207-A653EB98B0DF}" dt="2024-11-19T09:17:25.947" v="4768" actId="47"/>
        <pc:sldMkLst>
          <pc:docMk/>
          <pc:sldMk cId="545090203" sldId="2147476701"/>
        </pc:sldMkLst>
      </pc:sldChg>
      <pc:sldChg chg="add del ord">
        <pc:chgData name="Raphaella ASHRAF" userId="5247841d-d595-4c30-b58a-9906097315c5" providerId="ADAL" clId="{49E1EDC4-949C-4C9A-9207-A653EB98B0DF}" dt="2024-11-19T09:17:25.947" v="4768" actId="47"/>
        <pc:sldMkLst>
          <pc:docMk/>
          <pc:sldMk cId="1542959446" sldId="2147476702"/>
        </pc:sldMkLst>
      </pc:sldChg>
      <pc:sldChg chg="add del ord">
        <pc:chgData name="Raphaella ASHRAF" userId="5247841d-d595-4c30-b58a-9906097315c5" providerId="ADAL" clId="{49E1EDC4-949C-4C9A-9207-A653EB98B0DF}" dt="2024-11-19T09:17:25.947" v="4768" actId="47"/>
        <pc:sldMkLst>
          <pc:docMk/>
          <pc:sldMk cId="3457998596" sldId="2147476703"/>
        </pc:sldMkLst>
      </pc:sldChg>
      <pc:sldChg chg="add del ord">
        <pc:chgData name="Raphaella ASHRAF" userId="5247841d-d595-4c30-b58a-9906097315c5" providerId="ADAL" clId="{49E1EDC4-949C-4C9A-9207-A653EB98B0DF}" dt="2024-11-19T09:17:25.947" v="4768" actId="47"/>
        <pc:sldMkLst>
          <pc:docMk/>
          <pc:sldMk cId="1464247516" sldId="2147476704"/>
        </pc:sldMkLst>
      </pc:sldChg>
      <pc:sldChg chg="add del ord">
        <pc:chgData name="Raphaella ASHRAF" userId="5247841d-d595-4c30-b58a-9906097315c5" providerId="ADAL" clId="{49E1EDC4-949C-4C9A-9207-A653EB98B0DF}" dt="2024-11-19T09:17:25.947" v="4768" actId="47"/>
        <pc:sldMkLst>
          <pc:docMk/>
          <pc:sldMk cId="500755688" sldId="2147476705"/>
        </pc:sldMkLst>
      </pc:sldChg>
      <pc:sldChg chg="add del ord">
        <pc:chgData name="Raphaella ASHRAF" userId="5247841d-d595-4c30-b58a-9906097315c5" providerId="ADAL" clId="{49E1EDC4-949C-4C9A-9207-A653EB98B0DF}" dt="2024-11-19T09:17:25.947" v="4768" actId="47"/>
        <pc:sldMkLst>
          <pc:docMk/>
          <pc:sldMk cId="1663424164" sldId="2147476706"/>
        </pc:sldMkLst>
      </pc:sldChg>
      <pc:sldChg chg="add del ord">
        <pc:chgData name="Raphaella ASHRAF" userId="5247841d-d595-4c30-b58a-9906097315c5" providerId="ADAL" clId="{49E1EDC4-949C-4C9A-9207-A653EB98B0DF}" dt="2024-11-19T09:17:25.947" v="4768" actId="47"/>
        <pc:sldMkLst>
          <pc:docMk/>
          <pc:sldMk cId="1752333539" sldId="2147476707"/>
        </pc:sldMkLst>
      </pc:sldChg>
      <pc:sldChg chg="add del ord">
        <pc:chgData name="Raphaella ASHRAF" userId="5247841d-d595-4c30-b58a-9906097315c5" providerId="ADAL" clId="{49E1EDC4-949C-4C9A-9207-A653EB98B0DF}" dt="2024-11-19T09:17:25.947" v="4768" actId="47"/>
        <pc:sldMkLst>
          <pc:docMk/>
          <pc:sldMk cId="372910194" sldId="2147476708"/>
        </pc:sldMkLst>
      </pc:sldChg>
      <pc:sldChg chg="add del ord">
        <pc:chgData name="Raphaella ASHRAF" userId="5247841d-d595-4c30-b58a-9906097315c5" providerId="ADAL" clId="{49E1EDC4-949C-4C9A-9207-A653EB98B0DF}" dt="2024-11-19T09:17:25.947" v="4768" actId="47"/>
        <pc:sldMkLst>
          <pc:docMk/>
          <pc:sldMk cId="3182535785" sldId="2147476709"/>
        </pc:sldMkLst>
      </pc:sldChg>
      <pc:sldChg chg="add del ord">
        <pc:chgData name="Raphaella ASHRAF" userId="5247841d-d595-4c30-b58a-9906097315c5" providerId="ADAL" clId="{49E1EDC4-949C-4C9A-9207-A653EB98B0DF}" dt="2024-11-19T09:17:25.947" v="4768" actId="47"/>
        <pc:sldMkLst>
          <pc:docMk/>
          <pc:sldMk cId="829627972" sldId="2147476710"/>
        </pc:sldMkLst>
      </pc:sldChg>
      <pc:sldChg chg="add del ord">
        <pc:chgData name="Raphaella ASHRAF" userId="5247841d-d595-4c30-b58a-9906097315c5" providerId="ADAL" clId="{49E1EDC4-949C-4C9A-9207-A653EB98B0DF}" dt="2024-11-19T09:17:25.947" v="4768" actId="47"/>
        <pc:sldMkLst>
          <pc:docMk/>
          <pc:sldMk cId="2788058892" sldId="2147476711"/>
        </pc:sldMkLst>
      </pc:sldChg>
      <pc:sldChg chg="add del ord">
        <pc:chgData name="Raphaella ASHRAF" userId="5247841d-d595-4c30-b58a-9906097315c5" providerId="ADAL" clId="{49E1EDC4-949C-4C9A-9207-A653EB98B0DF}" dt="2024-11-19T09:17:25.947" v="4768" actId="47"/>
        <pc:sldMkLst>
          <pc:docMk/>
          <pc:sldMk cId="2503341056" sldId="2147476712"/>
        </pc:sldMkLst>
      </pc:sldChg>
      <pc:sldChg chg="add del ord">
        <pc:chgData name="Raphaella ASHRAF" userId="5247841d-d595-4c30-b58a-9906097315c5" providerId="ADAL" clId="{49E1EDC4-949C-4C9A-9207-A653EB98B0DF}" dt="2024-11-19T09:17:25.947" v="4768" actId="47"/>
        <pc:sldMkLst>
          <pc:docMk/>
          <pc:sldMk cId="1124045606" sldId="2147476713"/>
        </pc:sldMkLst>
      </pc:sldChg>
      <pc:sldChg chg="add del ord">
        <pc:chgData name="Raphaella ASHRAF" userId="5247841d-d595-4c30-b58a-9906097315c5" providerId="ADAL" clId="{49E1EDC4-949C-4C9A-9207-A653EB98B0DF}" dt="2024-11-19T09:17:25.947" v="4768" actId="47"/>
        <pc:sldMkLst>
          <pc:docMk/>
          <pc:sldMk cId="3968288945" sldId="2147476714"/>
        </pc:sldMkLst>
      </pc:sldChg>
      <pc:sldChg chg="add del ord">
        <pc:chgData name="Raphaella ASHRAF" userId="5247841d-d595-4c30-b58a-9906097315c5" providerId="ADAL" clId="{49E1EDC4-949C-4C9A-9207-A653EB98B0DF}" dt="2024-11-19T09:17:25.947" v="4768" actId="47"/>
        <pc:sldMkLst>
          <pc:docMk/>
          <pc:sldMk cId="527533344" sldId="2147476715"/>
        </pc:sldMkLst>
      </pc:sldChg>
      <pc:sldChg chg="add ord">
        <pc:chgData name="Raphaella ASHRAF" userId="5247841d-d595-4c30-b58a-9906097315c5" providerId="ADAL" clId="{49E1EDC4-949C-4C9A-9207-A653EB98B0DF}" dt="2024-11-19T09:09:54.570" v="4700"/>
        <pc:sldMkLst>
          <pc:docMk/>
          <pc:sldMk cId="3569814191" sldId="2147476716"/>
        </pc:sldMkLst>
      </pc:sldChg>
      <pc:sldChg chg="add ord">
        <pc:chgData name="Raphaella ASHRAF" userId="5247841d-d595-4c30-b58a-9906097315c5" providerId="ADAL" clId="{49E1EDC4-949C-4C9A-9207-A653EB98B0DF}" dt="2024-11-19T09:09:55.007" v="4703"/>
        <pc:sldMkLst>
          <pc:docMk/>
          <pc:sldMk cId="3989438614" sldId="2147476717"/>
        </pc:sldMkLst>
      </pc:sldChg>
      <pc:sldChg chg="add ord">
        <pc:chgData name="Raphaella ASHRAF" userId="5247841d-d595-4c30-b58a-9906097315c5" providerId="ADAL" clId="{49E1EDC4-949C-4C9A-9207-A653EB98B0DF}" dt="2024-11-19T09:09:55.447" v="4706"/>
        <pc:sldMkLst>
          <pc:docMk/>
          <pc:sldMk cId="935460949" sldId="2147476718"/>
        </pc:sldMkLst>
      </pc:sldChg>
      <pc:sldChg chg="add ord">
        <pc:chgData name="Raphaella ASHRAF" userId="5247841d-d595-4c30-b58a-9906097315c5" providerId="ADAL" clId="{49E1EDC4-949C-4C9A-9207-A653EB98B0DF}" dt="2024-11-19T09:09:55.887" v="4709"/>
        <pc:sldMkLst>
          <pc:docMk/>
          <pc:sldMk cId="4242076660" sldId="2147476719"/>
        </pc:sldMkLst>
      </pc:sldChg>
      <pc:sldChg chg="add ord">
        <pc:chgData name="Raphaella ASHRAF" userId="5247841d-d595-4c30-b58a-9906097315c5" providerId="ADAL" clId="{49E1EDC4-949C-4C9A-9207-A653EB98B0DF}" dt="2024-11-19T09:09:56.372" v="4712"/>
        <pc:sldMkLst>
          <pc:docMk/>
          <pc:sldMk cId="2658646573" sldId="2147476720"/>
        </pc:sldMkLst>
      </pc:sldChg>
      <pc:sldChg chg="add ord">
        <pc:chgData name="Raphaella ASHRAF" userId="5247841d-d595-4c30-b58a-9906097315c5" providerId="ADAL" clId="{49E1EDC4-949C-4C9A-9207-A653EB98B0DF}" dt="2024-11-19T09:09:56.824" v="4715"/>
        <pc:sldMkLst>
          <pc:docMk/>
          <pc:sldMk cId="1446888662" sldId="2147476721"/>
        </pc:sldMkLst>
      </pc:sldChg>
      <pc:sldChg chg="add ord">
        <pc:chgData name="Raphaella ASHRAF" userId="5247841d-d595-4c30-b58a-9906097315c5" providerId="ADAL" clId="{49E1EDC4-949C-4C9A-9207-A653EB98B0DF}" dt="2024-11-19T09:09:57.297" v="4718"/>
        <pc:sldMkLst>
          <pc:docMk/>
          <pc:sldMk cId="2281673509" sldId="2147476722"/>
        </pc:sldMkLst>
      </pc:sldChg>
      <pc:sldChg chg="add ord">
        <pc:chgData name="Raphaella ASHRAF" userId="5247841d-d595-4c30-b58a-9906097315c5" providerId="ADAL" clId="{49E1EDC4-949C-4C9A-9207-A653EB98B0DF}" dt="2024-11-19T09:09:57.787" v="4721"/>
        <pc:sldMkLst>
          <pc:docMk/>
          <pc:sldMk cId="2646672167" sldId="2147476723"/>
        </pc:sldMkLst>
      </pc:sldChg>
      <pc:sldChg chg="add ord">
        <pc:chgData name="Raphaella ASHRAF" userId="5247841d-d595-4c30-b58a-9906097315c5" providerId="ADAL" clId="{49E1EDC4-949C-4C9A-9207-A653EB98B0DF}" dt="2024-11-19T09:09:58.218" v="4724"/>
        <pc:sldMkLst>
          <pc:docMk/>
          <pc:sldMk cId="4000746061" sldId="2147476724"/>
        </pc:sldMkLst>
      </pc:sldChg>
      <pc:sldChg chg="add ord">
        <pc:chgData name="Raphaella ASHRAF" userId="5247841d-d595-4c30-b58a-9906097315c5" providerId="ADAL" clId="{49E1EDC4-949C-4C9A-9207-A653EB98B0DF}" dt="2024-11-19T09:09:58.661" v="4727"/>
        <pc:sldMkLst>
          <pc:docMk/>
          <pc:sldMk cId="703159309" sldId="2147476725"/>
        </pc:sldMkLst>
      </pc:sldChg>
      <pc:sldChg chg="add ord">
        <pc:chgData name="Raphaella ASHRAF" userId="5247841d-d595-4c30-b58a-9906097315c5" providerId="ADAL" clId="{49E1EDC4-949C-4C9A-9207-A653EB98B0DF}" dt="2024-11-19T09:09:59.093" v="4730"/>
        <pc:sldMkLst>
          <pc:docMk/>
          <pc:sldMk cId="3717017833" sldId="2147476726"/>
        </pc:sldMkLst>
      </pc:sldChg>
      <pc:sldChg chg="add ord">
        <pc:chgData name="Raphaella ASHRAF" userId="5247841d-d595-4c30-b58a-9906097315c5" providerId="ADAL" clId="{49E1EDC4-949C-4C9A-9207-A653EB98B0DF}" dt="2024-11-19T09:09:59.536" v="4733"/>
        <pc:sldMkLst>
          <pc:docMk/>
          <pc:sldMk cId="1322175956" sldId="2147476727"/>
        </pc:sldMkLst>
      </pc:sldChg>
      <pc:sldChg chg="add ord">
        <pc:chgData name="Raphaella ASHRAF" userId="5247841d-d595-4c30-b58a-9906097315c5" providerId="ADAL" clId="{49E1EDC4-949C-4C9A-9207-A653EB98B0DF}" dt="2024-11-19T09:09:59.991" v="4736"/>
        <pc:sldMkLst>
          <pc:docMk/>
          <pc:sldMk cId="644261856" sldId="2147476728"/>
        </pc:sldMkLst>
      </pc:sldChg>
      <pc:sldChg chg="add ord">
        <pc:chgData name="Raphaella ASHRAF" userId="5247841d-d595-4c30-b58a-9906097315c5" providerId="ADAL" clId="{49E1EDC4-949C-4C9A-9207-A653EB98B0DF}" dt="2024-11-19T09:10:00.438" v="4739"/>
        <pc:sldMkLst>
          <pc:docMk/>
          <pc:sldMk cId="926324949" sldId="2147476729"/>
        </pc:sldMkLst>
      </pc:sldChg>
      <pc:sldChg chg="add ord">
        <pc:chgData name="Raphaella ASHRAF" userId="5247841d-d595-4c30-b58a-9906097315c5" providerId="ADAL" clId="{49E1EDC4-949C-4C9A-9207-A653EB98B0DF}" dt="2024-11-19T09:10:00.891" v="4742"/>
        <pc:sldMkLst>
          <pc:docMk/>
          <pc:sldMk cId="3107027223" sldId="2147476730"/>
        </pc:sldMkLst>
      </pc:sldChg>
      <pc:sldChg chg="add ord">
        <pc:chgData name="Raphaella ASHRAF" userId="5247841d-d595-4c30-b58a-9906097315c5" providerId="ADAL" clId="{49E1EDC4-949C-4C9A-9207-A653EB98B0DF}" dt="2024-11-19T09:10:01.379" v="4745"/>
        <pc:sldMkLst>
          <pc:docMk/>
          <pc:sldMk cId="3452333127" sldId="2147476731"/>
        </pc:sldMkLst>
      </pc:sldChg>
      <pc:sldChg chg="add ord">
        <pc:chgData name="Raphaella ASHRAF" userId="5247841d-d595-4c30-b58a-9906097315c5" providerId="ADAL" clId="{49E1EDC4-949C-4C9A-9207-A653EB98B0DF}" dt="2024-11-19T09:10:01.819" v="4748"/>
        <pc:sldMkLst>
          <pc:docMk/>
          <pc:sldMk cId="2995091423" sldId="2147476732"/>
        </pc:sldMkLst>
      </pc:sldChg>
      <pc:sldChg chg="add ord">
        <pc:chgData name="Raphaella ASHRAF" userId="5247841d-d595-4c30-b58a-9906097315c5" providerId="ADAL" clId="{49E1EDC4-949C-4C9A-9207-A653EB98B0DF}" dt="2024-11-19T09:10:02.273" v="4751"/>
        <pc:sldMkLst>
          <pc:docMk/>
          <pc:sldMk cId="2541503782" sldId="2147476733"/>
        </pc:sldMkLst>
      </pc:sldChg>
      <pc:sldChg chg="add ord">
        <pc:chgData name="Raphaella ASHRAF" userId="5247841d-d595-4c30-b58a-9906097315c5" providerId="ADAL" clId="{49E1EDC4-949C-4C9A-9207-A653EB98B0DF}" dt="2024-11-19T09:10:02.745" v="4754"/>
        <pc:sldMkLst>
          <pc:docMk/>
          <pc:sldMk cId="212027704" sldId="2147476734"/>
        </pc:sldMkLst>
      </pc:sldChg>
      <pc:sldChg chg="add ord">
        <pc:chgData name="Raphaella ASHRAF" userId="5247841d-d595-4c30-b58a-9906097315c5" providerId="ADAL" clId="{49E1EDC4-949C-4C9A-9207-A653EB98B0DF}" dt="2024-11-19T09:10:03.171" v="4757"/>
        <pc:sldMkLst>
          <pc:docMk/>
          <pc:sldMk cId="3467200889" sldId="2147476735"/>
        </pc:sldMkLst>
      </pc:sldChg>
      <pc:sldChg chg="add ord">
        <pc:chgData name="Raphaella ASHRAF" userId="5247841d-d595-4c30-b58a-9906097315c5" providerId="ADAL" clId="{49E1EDC4-949C-4C9A-9207-A653EB98B0DF}" dt="2024-11-19T09:10:03.612" v="4760"/>
        <pc:sldMkLst>
          <pc:docMk/>
          <pc:sldMk cId="337447997" sldId="2147476736"/>
        </pc:sldMkLst>
      </pc:sldChg>
      <pc:sldChg chg="add">
        <pc:chgData name="Raphaella ASHRAF" userId="5247841d-d595-4c30-b58a-9906097315c5" providerId="ADAL" clId="{49E1EDC4-949C-4C9A-9207-A653EB98B0DF}" dt="2024-11-19T09:10:03.819" v="4762"/>
        <pc:sldMkLst>
          <pc:docMk/>
          <pc:sldMk cId="3942956743" sldId="2147476737"/>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4.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5.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6.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7.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8.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9.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0.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1.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2.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3.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5.xml"/><Relationship Id="rId1" Type="http://schemas.microsoft.com/office/2011/relationships/chartStyle" Target="style5.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6.xml"/><Relationship Id="rId1" Type="http://schemas.microsoft.com/office/2011/relationships/chartStyle" Target="style6.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7.xml"/><Relationship Id="rId1" Type="http://schemas.microsoft.com/office/2011/relationships/chartStyle" Target="style7.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4.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15.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6.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7.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18.xm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19.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8.xml"/><Relationship Id="rId1" Type="http://schemas.microsoft.com/office/2011/relationships/chartStyle" Target="style8.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9.xml"/><Relationship Id="rId1" Type="http://schemas.microsoft.com/office/2011/relationships/chartStyle" Target="style9.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10.xml"/><Relationship Id="rId1" Type="http://schemas.microsoft.com/office/2011/relationships/chartStyle" Target="style10.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15.xml"/><Relationship Id="rId1" Type="http://schemas.microsoft.com/office/2011/relationships/chartStyle" Target="style1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16.xml"/><Relationship Id="rId1" Type="http://schemas.microsoft.com/office/2011/relationships/chartStyle" Target="style16.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3.xml"/></Relationships>
</file>

<file path=ppt/charts/_rels/chartEx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32.xlsx"/></Relationships>
</file>

<file path=ppt/charts/_rels/chartEx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33.xlsx"/></Relationships>
</file>

<file path=ppt/charts/_rels/chartEx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34.xlsx"/></Relationships>
</file>

<file path=ppt/charts/_rels/chartEx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3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0"/>
        <c:ser>
          <c:idx val="2"/>
          <c:order val="0"/>
          <c:tx>
            <c:strRef>
              <c:f>Sheet1!$B$1</c:f>
              <c:strCache>
                <c:ptCount val="1"/>
                <c:pt idx="0">
                  <c:v>Value Share LY DYA</c:v>
                </c:pt>
              </c:strCache>
            </c:strRef>
          </c:tx>
          <c:spPr>
            <a:solidFill>
              <a:srgbClr val="CFCECE"/>
            </a:solidFill>
            <a:ln w="9525" cap="flat" cmpd="sng" algn="ctr">
              <a:noFill/>
              <a:round/>
            </a:ln>
            <a:effectLst/>
          </c:spPr>
          <c:invertIfNegative val="1"/>
          <c:dLbls>
            <c:dLbl>
              <c:idx val="0"/>
              <c:tx>
                <c:rich>
                  <a:bodyPr/>
                  <a:lstStyle/>
                  <a:p>
                    <a:r>
                      <a:rPr lang="en-US" sz="800" dirty="0"/>
                      <a:t>+</a:t>
                    </a:r>
                    <a:fld id="{91A849DD-4BD5-4B97-A667-B2D9F85F7B20}" type="VALUE">
                      <a:rPr lang="en-US" sz="800" smtClean="0"/>
                      <a:pPr/>
                      <a:t>[VALUE]</a:t>
                    </a:fld>
                    <a:endParaRPr lang="en-US" sz="800" dirty="0"/>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0F6-4B07-BC47-DBBAB713A727}"/>
                </c:ext>
              </c:extLst>
            </c:dLbl>
            <c:dLbl>
              <c:idx val="1"/>
              <c:tx>
                <c:rich>
                  <a:bodyPr/>
                  <a:lstStyle/>
                  <a:p>
                    <a:r>
                      <a:rPr lang="en-US"/>
                      <a:t>+</a:t>
                    </a:r>
                    <a:fld id="{E735B5EB-1D2C-4F31-8862-E5D0C63FCB1E}"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0F6-4B07-BC47-DBBAB713A727}"/>
                </c:ext>
              </c:extLst>
            </c:dLbl>
            <c:dLbl>
              <c:idx val="7"/>
              <c:tx>
                <c:rich>
                  <a:bodyPr/>
                  <a:lstStyle/>
                  <a:p>
                    <a:r>
                      <a:rPr lang="en-US"/>
                      <a:t>+</a:t>
                    </a:r>
                    <a:fld id="{FA69093B-FA0F-49B4-88AC-7649F13BB7F9}"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B0F6-4B07-BC47-DBBAB713A727}"/>
                </c:ext>
              </c:extLst>
            </c:dLbl>
            <c:dLbl>
              <c:idx val="8"/>
              <c:tx>
                <c:rich>
                  <a:bodyPr/>
                  <a:lstStyle/>
                  <a:p>
                    <a:r>
                      <a:rPr lang="en-US"/>
                      <a:t>+</a:t>
                    </a:r>
                    <a:fld id="{4974EF27-3D3D-4E41-B1E4-21D677FD099B}"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B0F6-4B07-BC47-DBBAB713A727}"/>
                </c:ext>
              </c:extLst>
            </c:dLbl>
            <c:dLbl>
              <c:idx val="9"/>
              <c:tx>
                <c:rich>
                  <a:bodyPr/>
                  <a:lstStyle/>
                  <a:p>
                    <a:r>
                      <a:rPr lang="en-US"/>
                      <a:t>+</a:t>
                    </a:r>
                    <a:fld id="{48125546-F830-401C-BA48-F712A4BDBD42}"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B0F6-4B07-BC47-DBBAB713A727}"/>
                </c:ext>
              </c:extLst>
            </c:dLbl>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0"/>
        <c:ser>
          <c:idx val="2"/>
          <c:order val="0"/>
          <c:tx>
            <c:strRef>
              <c:f>Sheet1!$B$1</c:f>
              <c:strCache>
                <c:ptCount val="1"/>
                <c:pt idx="0">
                  <c:v>Value Share DYA</c:v>
                </c:pt>
              </c:strCache>
            </c:strRef>
          </c:tx>
          <c:spPr>
            <a:solidFill>
              <a:srgbClr val="CFCECE"/>
            </a:solidFill>
            <a:ln w="9525" cap="flat" cmpd="sng" algn="ctr">
              <a:noFill/>
              <a:round/>
            </a:ln>
            <a:effectLst/>
          </c:spPr>
          <c:invertIfNegative val="1"/>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share by Brand, index</a:t>
            </a:r>
            <a:endParaRPr lang="en-US" sz="800">
              <a:solidFill>
                <a:schemeClr val="tx1"/>
              </a:solidFill>
              <a:latin typeface="+mj-lt"/>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
          <c:order val="1"/>
          <c:tx>
            <c:strRef>
              <c:f>Sheet1!$C$1</c:f>
              <c:strCache>
                <c:ptCount val="1"/>
                <c:pt idx="0">
                  <c:v>Sector 1</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C$2:$C$36</c:f>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extLst xmlns:c15="http://schemas.microsoft.com/office/drawing/2012/chart"/>
            </c:numRef>
          </c:val>
          <c:extLst xmlns:c15="http://schemas.microsoft.com/office/drawing/2012/chart">
            <c:ext xmlns:c16="http://schemas.microsoft.com/office/drawing/2014/chart" uri="{C3380CC4-5D6E-409C-BE32-E72D297353CC}">
              <c16:uniqueId val="{00000001-A582-417D-A5F8-2A0075530F50}"/>
            </c:ext>
          </c:extLst>
        </c:ser>
        <c:ser>
          <c:idx val="2"/>
          <c:order val="2"/>
          <c:tx>
            <c:strRef>
              <c:f>Sheet1!$D$1</c:f>
              <c:strCache>
                <c:ptCount val="1"/>
                <c:pt idx="0">
                  <c:v>Sector 2</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D$2:$D$36</c:f>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extLst xmlns:c15="http://schemas.microsoft.com/office/drawing/2012/chart"/>
            </c:numRef>
          </c:val>
          <c:extLst xmlns:c15="http://schemas.microsoft.com/office/drawing/2012/chart">
            <c:ext xmlns:c16="http://schemas.microsoft.com/office/drawing/2014/chart" uri="{C3380CC4-5D6E-409C-BE32-E72D297353CC}">
              <c16:uniqueId val="{00000000-2D16-4906-BB22-77AF188F6975}"/>
            </c:ext>
          </c:extLst>
        </c:ser>
        <c:ser>
          <c:idx val="3"/>
          <c:order val="3"/>
          <c:tx>
            <c:strRef>
              <c:f>Sheet1!$E$1</c:f>
              <c:strCache>
                <c:ptCount val="1"/>
                <c:pt idx="0">
                  <c:v>Sector 3</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E$2:$E$36</c:f>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extLst xmlns:c15="http://schemas.microsoft.com/office/drawing/2012/chart"/>
            </c:numRef>
          </c:val>
          <c:extLst xmlns:c15="http://schemas.microsoft.com/office/drawing/2012/chart">
            <c:ext xmlns:c16="http://schemas.microsoft.com/office/drawing/2014/chart" uri="{C3380CC4-5D6E-409C-BE32-E72D297353CC}">
              <c16:uniqueId val="{00000001-2D16-4906-BB22-77AF188F6975}"/>
            </c:ext>
          </c:extLst>
        </c:ser>
        <c:ser>
          <c:idx val="4"/>
          <c:order val="4"/>
          <c:tx>
            <c:strRef>
              <c:f>Sheet1!$F$1</c:f>
              <c:strCache>
                <c:ptCount val="1"/>
                <c:pt idx="0">
                  <c:v>Sector 4</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F$2:$F$36</c:f>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extLst xmlns:c15="http://schemas.microsoft.com/office/drawing/2012/chart"/>
            </c:numRef>
          </c:val>
          <c:extLst xmlns:c15="http://schemas.microsoft.com/office/drawing/2012/chart">
            <c:ext xmlns:c16="http://schemas.microsoft.com/office/drawing/2014/chart" uri="{C3380CC4-5D6E-409C-BE32-E72D297353CC}">
              <c16:uniqueId val="{00000002-2D16-4906-BB22-77AF188F6975}"/>
            </c:ext>
          </c:extLst>
        </c:ser>
        <c:ser>
          <c:idx val="5"/>
          <c:order val="5"/>
          <c:tx>
            <c:strRef>
              <c:f>Sheet1!$G$1</c:f>
              <c:strCache>
                <c:ptCount val="1"/>
                <c:pt idx="0">
                  <c:v>Sector 5</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G$2:$G$36</c:f>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extLst xmlns:c15="http://schemas.microsoft.com/office/drawing/2012/chart"/>
            </c:numRef>
          </c:val>
          <c:extLst xmlns:c15="http://schemas.microsoft.com/office/drawing/2012/chart">
            <c:ext xmlns:c16="http://schemas.microsoft.com/office/drawing/2014/chart" uri="{C3380CC4-5D6E-409C-BE32-E72D297353CC}">
              <c16:uniqueId val="{00000003-2D16-4906-BB22-77AF188F6975}"/>
            </c:ext>
          </c:extLst>
        </c:ser>
        <c:ser>
          <c:idx val="6"/>
          <c:order val="6"/>
          <c:tx>
            <c:strRef>
              <c:f>Sheet1!$H$1</c:f>
              <c:strCache>
                <c:ptCount val="1"/>
                <c:pt idx="0">
                  <c:v>Sector 6</c:v>
                </c:pt>
              </c:strCache>
              <c:extLst xmlns:c15="http://schemas.microsoft.com/office/drawing/2012/chart"/>
            </c:strRef>
          </c:tx>
          <c:spPr>
            <a:solidFill>
              <a:schemeClr val="dk1">
                <a:tint val="8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H$2:$H$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3-CB01-4B89-A725-1CA2D0FD4A84}"/>
            </c:ext>
          </c:extLst>
        </c:ser>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E6E5E5">
                <a:alpha val="85000"/>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575555">
                <a:lumMod val="20000"/>
                <a:lumOff val="80000"/>
                <a:alpha val="85000"/>
              </a:srgbClr>
            </a:solidFill>
            <a:ln w="9525" cap="flat" cmpd="sng" algn="ctr">
              <a:noFill/>
              <a:round/>
            </a:ln>
            <a:effectLst/>
          </c:spPr>
          <c:invertIfNegative val="0"/>
          <c:dPt>
            <c:idx val="0"/>
            <c:invertIfNegative val="0"/>
            <c:bubble3D val="0"/>
            <c:spPr>
              <a:solidFill>
                <a:srgbClr val="E6E5E5">
                  <a:alpha val="85000"/>
                </a:srgbClr>
              </a:solidFill>
              <a:ln w="9525" cap="flat" cmpd="sng" algn="ctr">
                <a:noFill/>
                <a:round/>
              </a:ln>
              <a:effectLst/>
            </c:spPr>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E6E5E5"/>
            </a:solidFill>
            <a:ln>
              <a:noFill/>
            </a:ln>
            <a:effectLst/>
          </c:spPr>
          <c:invertIfNegative val="1"/>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E6E5E5"/>
            </a:solidFill>
            <a:ln>
              <a:noFill/>
            </a:ln>
            <a:effectLst/>
          </c:spPr>
          <c:invertIfNegative val="1"/>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F35273BE-107F-4949-8762-4DDE01BEE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F89C191F-1FBF-4093-8287-A7B06C8563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DC4842A0-1864-4A10-8794-22B5691D1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E863F0F6-F9ED-46E4-81C4-E4518D7B1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92F273DF-F651-4421-B90B-072AF05E0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FEA0D26A-EFB5-48D1-AFFC-FAD7C9883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1C9BFABE-4C56-4D25-8331-E98FCF553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D801EC0C-8203-4958-8AE0-041165823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11A8A2E1-4D5C-4C3E-BD99-BA397BCAA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551FE30A-2D8B-4D86-A0F6-C885CFCFA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580A15C-94EF-43A8-998D-F2F3BED9B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2A2B34CF-6E72-4FA9-96C4-4910DFCFBD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2CC4F437-548F-41B5-95BC-90A969837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1C64EEA9-2162-4CD6-9AF6-B9F365C8B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8E832B13-B32E-406D-B6BD-214E8302B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7300BFB5-386C-41B2-AA7A-789F7A9FB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182B2F1F-F892-4976-B5AE-5620D322A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4B4DA9E-E17D-4F9A-976C-5FC330C20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895537CF-4938-41F9-9347-236A70722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280D834E-FDF2-4E07-AD10-ED8FDD2D7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8C8EE9FA-4480-421E-8247-1A2ABA9CB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AD29FF51-41FE-41D5-ADCC-3D56DB268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0DCCE05B-9F66-4CF4-8ABA-E5B7BB7349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4D21160-569F-4C9C-8FE7-F45BA48B4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2E497A51-791D-4FAF-81A8-0F65EC08D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C7E476B2-65D8-4245-8FC9-CC5B50908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5DB9A6E6-AEEA-4A33-9940-550025298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554A5735-0130-4F81-9435-4177127ED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9A0E41F3-75C3-477D-A7C3-C08342C9A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CC4CA3AA-7A7A-412D-9B39-5377EEA45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C8ECADDB-EBE5-4688-AD5D-5B4D5A49A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81928430-253F-460F-B0E0-6C05A7627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67781497-E796-44B4-AC76-28E530152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562.66</c:v>
                </c:pt>
                <c:pt idx="1">
                  <c:v>556.6</c:v>
                </c:pt>
                <c:pt idx="2">
                  <c:v>504.32</c:v>
                </c:pt>
                <c:pt idx="3">
                  <c:v>339.89</c:v>
                </c:pt>
                <c:pt idx="4">
                  <c:v>248.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C$2:$C$6</c:f>
              <c:numCache>
                <c:formatCode>General</c:formatCode>
                <c:ptCount val="5"/>
                <c:pt idx="0">
                  <c:v>27.565791914269141</c:v>
                </c:pt>
                <c:pt idx="1">
                  <c:v>20.255570785359271</c:v>
                </c:pt>
                <c:pt idx="2">
                  <c:v>19.624089328920221</c:v>
                </c:pt>
                <c:pt idx="3">
                  <c:v>20.126364279716149</c:v>
                </c:pt>
                <c:pt idx="4">
                  <c:v>34.62074152824585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1.1000000000000001</c:v>
                </c:pt>
                <c:pt idx="1">
                  <c:v>1.06</c:v>
                </c:pt>
                <c:pt idx="2">
                  <c:v>0.97</c:v>
                </c:pt>
                <c:pt idx="3">
                  <c:v>1.04</c:v>
                </c:pt>
                <c:pt idx="4">
                  <c:v>1.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max val="1.2"/>
          <c:min val="0.8"/>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chemeClr val="bg1">
                <a:lumMod val="8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chemeClr val="bg1">
                <a:lumMod val="7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chemeClr val="bg1">
                <a:lumMod val="65000"/>
              </a:schemeClr>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chemeClr val="tx1">
                <a:lumMod val="60000"/>
                <a:lumOff val="4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bg1">
                <a:lumMod val="50000"/>
              </a:schemeClr>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1-C68F-4E4B-B10D-6AA356BDCE0E}"/>
              </c:ext>
            </c:extLst>
          </c:dPt>
          <c:dPt>
            <c:idx val="1"/>
            <c:invertIfNegative val="1"/>
            <c:bubble3D val="0"/>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extLst>
              <c:ext xmlns:c16="http://schemas.microsoft.com/office/drawing/2014/chart" uri="{C3380CC4-5D6E-409C-BE32-E72D297353CC}">
                <c16:uniqueId val="{00000003-939F-914F-B21C-A74C7D512FB1}"/>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3.6130570656730629E-2</c:v>
                </c:pt>
                <c:pt idx="1">
                  <c:v>0.46180248611614361</c:v>
                </c:pt>
                <c:pt idx="2">
                  <c:v>-0.2713470561877247</c:v>
                </c:pt>
                <c:pt idx="3">
                  <c:v>0.19801776676495594</c:v>
                </c:pt>
                <c:pt idx="4">
                  <c:v>0.5753962326498944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extLst>
              <c:ext xmlns:c16="http://schemas.microsoft.com/office/drawing/2014/chart" uri="{C3380CC4-5D6E-409C-BE32-E72D297353CC}">
                <c16:uniqueId val="{00000000-5234-456A-90C5-03D5E52B9627}"/>
              </c:ext>
            </c:extLst>
          </c:dPt>
          <c:dPt>
            <c:idx val="1"/>
            <c:invertIfNegative val="1"/>
            <c:bubble3D val="0"/>
            <c:extLst>
              <c:ext xmlns:c16="http://schemas.microsoft.com/office/drawing/2014/chart" uri="{C3380CC4-5D6E-409C-BE32-E72D297353CC}">
                <c16:uniqueId val="{00000001-5234-456A-90C5-03D5E52B9627}"/>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0.25431580591983377</c:v>
                </c:pt>
                <c:pt idx="1">
                  <c:v>0.2515732239292916</c:v>
                </c:pt>
                <c:pt idx="2">
                  <c:v>0.22794683087105697</c:v>
                </c:pt>
                <c:pt idx="3">
                  <c:v>0.15362398780410313</c:v>
                </c:pt>
                <c:pt idx="4">
                  <c:v>0.1125401514757144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chemeClr val="bg2">
                <a:lumMod val="90000"/>
              </a:schemeClr>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562.66</c:v>
                </c:pt>
                <c:pt idx="1">
                  <c:v>556.6</c:v>
                </c:pt>
                <c:pt idx="2">
                  <c:v>504.32</c:v>
                </c:pt>
                <c:pt idx="3">
                  <c:v>339.89</c:v>
                </c:pt>
                <c:pt idx="4">
                  <c:v>248.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C$2:$C$6</c:f>
              <c:numCache>
                <c:formatCode>General</c:formatCode>
                <c:ptCount val="5"/>
                <c:pt idx="0">
                  <c:v>27.565791914269141</c:v>
                </c:pt>
                <c:pt idx="1">
                  <c:v>20.255570785359271</c:v>
                </c:pt>
                <c:pt idx="2">
                  <c:v>19.624089328920221</c:v>
                </c:pt>
                <c:pt idx="3">
                  <c:v>20.126364279716149</c:v>
                </c:pt>
                <c:pt idx="4">
                  <c:v>34.62074152824585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1.1000000000000001</c:v>
                </c:pt>
                <c:pt idx="1">
                  <c:v>1.06</c:v>
                </c:pt>
                <c:pt idx="2">
                  <c:v>0.97</c:v>
                </c:pt>
                <c:pt idx="3">
                  <c:v>1.04</c:v>
                </c:pt>
                <c:pt idx="4">
                  <c:v>1.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max val="1.2"/>
          <c:min val="0.8"/>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575555">
                <a:lumMod val="20000"/>
                <a:lumOff val="80000"/>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dataPt idx="2">
            <cx:spPr>
              <a:solidFill>
                <a:srgbClr val="C00000"/>
              </a:solidFill>
              <a:ln>
                <a:noFill/>
              </a:ln>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07/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43778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08441-3C4D-44CF-7175-FCF3AF9A99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97B56C-334B-88DC-150A-D05BE16F34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A0DD52-780B-1ED9-ED91-116001638DEE}"/>
              </a:ext>
            </a:extLst>
          </p:cNvPr>
          <p:cNvSpPr>
            <a:spLocks noGrp="1"/>
          </p:cNvSpPr>
          <p:nvPr>
            <p:ph type="body" idx="1"/>
          </p:nvPr>
        </p:nvSpPr>
        <p:spPr/>
        <p:txBody>
          <a:bodyPr/>
          <a:lstStyle/>
          <a:p>
            <a:endParaRPr lang="en-CH"/>
          </a:p>
        </p:txBody>
      </p:sp>
    </p:spTree>
    <p:extLst>
      <p:ext uri="{BB962C8B-B14F-4D97-AF65-F5344CB8AC3E}">
        <p14:creationId xmlns:p14="http://schemas.microsoft.com/office/powerpoint/2010/main" val="331817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7/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7/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7/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7/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7/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7/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7/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7/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7/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7/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7/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7/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7/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7/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7/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7/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7/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7/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7/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7/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7/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7/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7/7/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chart" Target="../charts/chart2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24.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13.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notesSlide" Target="../notesSlides/notesSlide10.xml"/><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26.xml"/><Relationship Id="rId11" Type="http://schemas.openxmlformats.org/officeDocument/2006/relationships/chart" Target="../charts/chart31.xml"/><Relationship Id="rId5" Type="http://schemas.openxmlformats.org/officeDocument/2006/relationships/image" Target="../media/image28.emf"/><Relationship Id="rId10" Type="http://schemas.openxmlformats.org/officeDocument/2006/relationships/chart" Target="../charts/chart30.xml"/><Relationship Id="rId4" Type="http://schemas.openxmlformats.org/officeDocument/2006/relationships/oleObject" Target="../embeddings/oleObject30.bin"/><Relationship Id="rId9" Type="http://schemas.openxmlformats.org/officeDocument/2006/relationships/chart" Target="../charts/chart2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30.emf"/><Relationship Id="rId5" Type="http://schemas.openxmlformats.org/officeDocument/2006/relationships/oleObject" Target="../embeddings/oleObject31.bin"/><Relationship Id="rId4" Type="http://schemas.openxmlformats.org/officeDocument/2006/relationships/chart" Target="../charts/chart32.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microsoft.com/office/2014/relationships/chartEx" Target="../charts/chartEx1.xml"/><Relationship Id="rId1" Type="http://schemas.openxmlformats.org/officeDocument/2006/relationships/slideLayout" Target="../slideLayouts/slideLayout7.xml"/><Relationship Id="rId5" Type="http://schemas.openxmlformats.org/officeDocument/2006/relationships/image" Target="../media/image32.png"/><Relationship Id="rId4" Type="http://schemas.microsoft.com/office/2014/relationships/chartEx" Target="../charts/chartEx2.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microsoft.com/office/2014/relationships/chartEx" Target="../charts/chartEx3.xml"/><Relationship Id="rId1" Type="http://schemas.openxmlformats.org/officeDocument/2006/relationships/slideLayout" Target="../slideLayouts/slideLayout7.xml"/><Relationship Id="rId5" Type="http://schemas.openxmlformats.org/officeDocument/2006/relationships/image" Target="../media/image34.png"/><Relationship Id="rId4" Type="http://schemas.microsoft.com/office/2014/relationships/chartEx" Target="../charts/chartEx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3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chart" Target="../charts/chart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chart" Target="../charts/chart9.xml"/><Relationship Id="rId7" Type="http://schemas.openxmlformats.org/officeDocument/2006/relationships/chart" Target="../charts/chart13.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s>
</file>

<file path=ppt/slides/_rels/slide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chart" Target="../charts/chart16.xml"/></Relationships>
</file>

<file path=ppt/slides/_rels/slide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chart" Target="../charts/chart19.xml"/><Relationship Id="rId4" Type="http://schemas.openxmlformats.org/officeDocument/2006/relationships/chart" Target="../charts/chart18.xml"/></Relationships>
</file>

<file path=ppt/slides/_rels/slide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7/7/2025</a:t>
            </a:fld>
            <a:endParaRPr lang="en-US"/>
          </a:p>
        </p:txBody>
      </p:sp>
    </p:spTree>
    <p:extLst>
      <p:ext uri="{BB962C8B-B14F-4D97-AF65-F5344CB8AC3E}">
        <p14:creationId xmlns:p14="http://schemas.microsoft.com/office/powerpoint/2010/main" val="14896602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869330573"/>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3894633796"/>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7/7/2025</a:t>
            </a:fld>
            <a:endParaRPr lang="en-US"/>
          </a:p>
        </p:txBody>
      </p:sp>
    </p:spTree>
    <p:extLst>
      <p:ext uri="{BB962C8B-B14F-4D97-AF65-F5344CB8AC3E}">
        <p14:creationId xmlns:p14="http://schemas.microsoft.com/office/powerpoint/2010/main" val="3303576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4097038769"/>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7/7/2025</a:t>
            </a:fld>
            <a:endParaRPr 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2818859253"/>
              </p:ext>
            </p:extLst>
          </p:nvPr>
        </p:nvGraphicFramePr>
        <p:xfrm>
          <a:off x="546796" y="1096169"/>
          <a:ext cx="8099997" cy="3790020"/>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7046">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356844">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9596">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95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95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95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95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95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95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95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95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95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95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95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95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959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1056232516"/>
              </p:ext>
            </p:extLst>
          </p:nvPr>
        </p:nvGraphicFramePr>
        <p:xfrm>
          <a:off x="1597118" y="1806222"/>
          <a:ext cx="1237618" cy="307996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17394587"/>
              </p:ext>
            </p:extLst>
          </p:nvPr>
        </p:nvGraphicFramePr>
        <p:xfrm>
          <a:off x="5127346" y="1806221"/>
          <a:ext cx="1237618" cy="3079967"/>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7/7/2025</a:t>
            </a:fld>
            <a:endParaRPr lang="en-US"/>
          </a:p>
        </p:txBody>
      </p:sp>
    </p:spTree>
    <p:extLst>
      <p:ext uri="{BB962C8B-B14F-4D97-AF65-F5344CB8AC3E}">
        <p14:creationId xmlns:p14="http://schemas.microsoft.com/office/powerpoint/2010/main" val="32130142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32189520"/>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480536795"/>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7351526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567340926"/>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1447022053"/>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173565925"/>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7/7/2025</a:t>
            </a:fld>
            <a:endParaRPr lang="en-US"/>
          </a:p>
        </p:txBody>
      </p:sp>
    </p:spTree>
    <p:extLst>
      <p:ext uri="{BB962C8B-B14F-4D97-AF65-F5344CB8AC3E}">
        <p14:creationId xmlns:p14="http://schemas.microsoft.com/office/powerpoint/2010/main" val="4076221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7/7/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1317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3"/>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7/7/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5"/>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580356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1958280195"/>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17896252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7/7/2025</a:t>
            </a:fld>
            <a:endParaRPr lang="en-US"/>
          </a:p>
        </p:txBody>
      </p:sp>
    </p:spTree>
    <p:extLst>
      <p:ext uri="{BB962C8B-B14F-4D97-AF65-F5344CB8AC3E}">
        <p14:creationId xmlns:p14="http://schemas.microsoft.com/office/powerpoint/2010/main" val="5233715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F07DD49-E54E-2FE5-49F6-13CA541C9621}"/>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1967F31-8D07-2075-4153-C2E283F3432A}"/>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792CA894-B7A7-0B88-30CC-2B13078F63A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6F3A7BE-69C0-B127-0306-D3CA996E441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32" name="Text Placeholder 31">
            <a:extLst>
              <a:ext uri="{FF2B5EF4-FFF2-40B4-BE49-F238E27FC236}">
                <a16:creationId xmlns:a16="http://schemas.microsoft.com/office/drawing/2014/main" id="{092B8120-20AB-63BB-0155-F9AA986963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A5D631A1-42A8-7A44-3D3C-47C2E67B21D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840AE69D-4895-55F3-7D42-48838D64BB1D}"/>
              </a:ext>
            </a:extLst>
          </p:cNvPr>
          <p:cNvSpPr>
            <a:spLocks noGrp="1"/>
          </p:cNvSpPr>
          <p:nvPr>
            <p:ph type="title"/>
          </p:nvPr>
        </p:nvSpPr>
        <p:spPr>
          <a:xfrm>
            <a:off x="504000" y="-1"/>
            <a:ext cx="8136000" cy="771525"/>
          </a:xfrm>
        </p:spPr>
        <p:txBody>
          <a:bodyPr vert="horz"/>
          <a:lstStyle/>
          <a:p>
            <a:r>
              <a:rPr lang="en-GB" dirty="0">
                <a:highlight>
                  <a:srgbClr val="FFFF00"/>
                </a:highlight>
              </a:rPr>
              <a:t>Sectors Value Sales &amp; </a:t>
            </a:r>
            <a:r>
              <a:rPr lang="en-GB" dirty="0" err="1">
                <a:highlight>
                  <a:srgbClr val="FFFF00"/>
                </a:highlight>
              </a:rPr>
              <a:t>Avg</a:t>
            </a:r>
            <a:r>
              <a:rPr lang="en-GB" dirty="0">
                <a:highlight>
                  <a:srgbClr val="FFFF00"/>
                </a:highlight>
              </a:rPr>
              <a:t> Price Per Kg</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E45EC2B5-2010-CB55-4A26-02499A2D3F03}"/>
              </a:ext>
            </a:extLst>
          </p:cNvPr>
          <p:cNvGraphicFramePr/>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674A21D8-7D1C-2C61-4D54-761998AB509B}"/>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68CDDB70-8417-66BA-25CF-3507F819A7B8}"/>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65B1F8E6-75B7-4143-9382-48B4497F8FA7}"/>
              </a:ext>
            </a:extLst>
          </p:cNvPr>
          <p:cNvGraphicFramePr>
            <a:graphicFrameLocks noGrp="1"/>
          </p:cNvGraphicFramePr>
          <p:nvPr>
            <p:extLst>
              <p:ext uri="{D42A27DB-BD31-4B8C-83A1-F6EECF244321}">
                <p14:modId xmlns:p14="http://schemas.microsoft.com/office/powerpoint/2010/main" val="3530569116"/>
              </p:ext>
            </p:extLst>
          </p:nvPr>
        </p:nvGraphicFramePr>
        <p:xfrm>
          <a:off x="6056" y="3447197"/>
          <a:ext cx="8630654" cy="1035867"/>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37327">
                  <a:extLst>
                    <a:ext uri="{9D8B030D-6E8A-4147-A177-3AD203B41FA5}">
                      <a16:colId xmlns:a16="http://schemas.microsoft.com/office/drawing/2014/main" val="2253286919"/>
                    </a:ext>
                  </a:extLst>
                </a:gridCol>
                <a:gridCol w="337327">
                  <a:extLst>
                    <a:ext uri="{9D8B030D-6E8A-4147-A177-3AD203B41FA5}">
                      <a16:colId xmlns:a16="http://schemas.microsoft.com/office/drawing/2014/main" val="154020430"/>
                    </a:ext>
                  </a:extLst>
                </a:gridCol>
                <a:gridCol w="337327">
                  <a:extLst>
                    <a:ext uri="{9D8B030D-6E8A-4147-A177-3AD203B41FA5}">
                      <a16:colId xmlns:a16="http://schemas.microsoft.com/office/drawing/2014/main" val="3928813835"/>
                    </a:ext>
                  </a:extLst>
                </a:gridCol>
                <a:gridCol w="337327">
                  <a:extLst>
                    <a:ext uri="{9D8B030D-6E8A-4147-A177-3AD203B41FA5}">
                      <a16:colId xmlns:a16="http://schemas.microsoft.com/office/drawing/2014/main" val="3374165474"/>
                    </a:ext>
                  </a:extLst>
                </a:gridCol>
                <a:gridCol w="337327">
                  <a:extLst>
                    <a:ext uri="{9D8B030D-6E8A-4147-A177-3AD203B41FA5}">
                      <a16:colId xmlns:a16="http://schemas.microsoft.com/office/drawing/2014/main" val="99928969"/>
                    </a:ext>
                  </a:extLst>
                </a:gridCol>
                <a:gridCol w="337327">
                  <a:extLst>
                    <a:ext uri="{9D8B030D-6E8A-4147-A177-3AD203B41FA5}">
                      <a16:colId xmlns:a16="http://schemas.microsoft.com/office/drawing/2014/main" val="127408809"/>
                    </a:ext>
                  </a:extLst>
                </a:gridCol>
                <a:gridCol w="337327">
                  <a:extLst>
                    <a:ext uri="{9D8B030D-6E8A-4147-A177-3AD203B41FA5}">
                      <a16:colId xmlns:a16="http://schemas.microsoft.com/office/drawing/2014/main" val="3994312964"/>
                    </a:ext>
                  </a:extLst>
                </a:gridCol>
                <a:gridCol w="337327">
                  <a:extLst>
                    <a:ext uri="{9D8B030D-6E8A-4147-A177-3AD203B41FA5}">
                      <a16:colId xmlns:a16="http://schemas.microsoft.com/office/drawing/2014/main" val="384709931"/>
                    </a:ext>
                  </a:extLst>
                </a:gridCol>
                <a:gridCol w="337327">
                  <a:extLst>
                    <a:ext uri="{9D8B030D-6E8A-4147-A177-3AD203B41FA5}">
                      <a16:colId xmlns:a16="http://schemas.microsoft.com/office/drawing/2014/main" val="217012177"/>
                    </a:ext>
                  </a:extLst>
                </a:gridCol>
                <a:gridCol w="337327">
                  <a:extLst>
                    <a:ext uri="{9D8B030D-6E8A-4147-A177-3AD203B41FA5}">
                      <a16:colId xmlns:a16="http://schemas.microsoft.com/office/drawing/2014/main" val="2084146792"/>
                    </a:ext>
                  </a:extLst>
                </a:gridCol>
                <a:gridCol w="337327">
                  <a:extLst>
                    <a:ext uri="{9D8B030D-6E8A-4147-A177-3AD203B41FA5}">
                      <a16:colId xmlns:a16="http://schemas.microsoft.com/office/drawing/2014/main" val="586326706"/>
                    </a:ext>
                  </a:extLst>
                </a:gridCol>
                <a:gridCol w="337327">
                  <a:extLst>
                    <a:ext uri="{9D8B030D-6E8A-4147-A177-3AD203B41FA5}">
                      <a16:colId xmlns:a16="http://schemas.microsoft.com/office/drawing/2014/main" val="786404783"/>
                    </a:ext>
                  </a:extLst>
                </a:gridCol>
                <a:gridCol w="337327">
                  <a:extLst>
                    <a:ext uri="{9D8B030D-6E8A-4147-A177-3AD203B41FA5}">
                      <a16:colId xmlns:a16="http://schemas.microsoft.com/office/drawing/2014/main" val="2712606379"/>
                    </a:ext>
                  </a:extLst>
                </a:gridCol>
                <a:gridCol w="337327">
                  <a:extLst>
                    <a:ext uri="{9D8B030D-6E8A-4147-A177-3AD203B41FA5}">
                      <a16:colId xmlns:a16="http://schemas.microsoft.com/office/drawing/2014/main" val="2334528175"/>
                    </a:ext>
                  </a:extLst>
                </a:gridCol>
                <a:gridCol w="337327">
                  <a:extLst>
                    <a:ext uri="{9D8B030D-6E8A-4147-A177-3AD203B41FA5}">
                      <a16:colId xmlns:a16="http://schemas.microsoft.com/office/drawing/2014/main" val="3835393650"/>
                    </a:ext>
                  </a:extLst>
                </a:gridCol>
                <a:gridCol w="337327">
                  <a:extLst>
                    <a:ext uri="{9D8B030D-6E8A-4147-A177-3AD203B41FA5}">
                      <a16:colId xmlns:a16="http://schemas.microsoft.com/office/drawing/2014/main" val="3705822644"/>
                    </a:ext>
                  </a:extLst>
                </a:gridCol>
                <a:gridCol w="337327">
                  <a:extLst>
                    <a:ext uri="{9D8B030D-6E8A-4147-A177-3AD203B41FA5}">
                      <a16:colId xmlns:a16="http://schemas.microsoft.com/office/drawing/2014/main" val="184560546"/>
                    </a:ext>
                  </a:extLst>
                </a:gridCol>
                <a:gridCol w="337327">
                  <a:extLst>
                    <a:ext uri="{9D8B030D-6E8A-4147-A177-3AD203B41FA5}">
                      <a16:colId xmlns:a16="http://schemas.microsoft.com/office/drawing/2014/main" val="712457864"/>
                    </a:ext>
                  </a:extLst>
                </a:gridCol>
                <a:gridCol w="337327">
                  <a:extLst>
                    <a:ext uri="{9D8B030D-6E8A-4147-A177-3AD203B41FA5}">
                      <a16:colId xmlns:a16="http://schemas.microsoft.com/office/drawing/2014/main" val="2719112317"/>
                    </a:ext>
                  </a:extLst>
                </a:gridCol>
                <a:gridCol w="337327">
                  <a:extLst>
                    <a:ext uri="{9D8B030D-6E8A-4147-A177-3AD203B41FA5}">
                      <a16:colId xmlns:a16="http://schemas.microsoft.com/office/drawing/2014/main" val="1610204172"/>
                    </a:ext>
                  </a:extLst>
                </a:gridCol>
                <a:gridCol w="337327">
                  <a:extLst>
                    <a:ext uri="{9D8B030D-6E8A-4147-A177-3AD203B41FA5}">
                      <a16:colId xmlns:a16="http://schemas.microsoft.com/office/drawing/2014/main" val="4106856681"/>
                    </a:ext>
                  </a:extLst>
                </a:gridCol>
                <a:gridCol w="337327">
                  <a:extLst>
                    <a:ext uri="{9D8B030D-6E8A-4147-A177-3AD203B41FA5}">
                      <a16:colId xmlns:a16="http://schemas.microsoft.com/office/drawing/2014/main" val="4292680004"/>
                    </a:ext>
                  </a:extLst>
                </a:gridCol>
              </a:tblGrid>
              <a:tr h="267956">
                <a:tc>
                  <a:txBody>
                    <a:bodyPr/>
                    <a:lstStyle/>
                    <a:p>
                      <a:r>
                        <a:rPr lang="en-US" sz="700" b="1" i="0" dirty="0">
                          <a:solidFill>
                            <a:schemeClr val="bg1"/>
                          </a:solidFill>
                          <a:latin typeface="+mj-lt"/>
                        </a:rPr>
                        <a:t>Sector </a:t>
                      </a:r>
                      <a:r>
                        <a:rPr lang="en-US" sz="700" b="1" i="0" dirty="0" err="1">
                          <a:solidFill>
                            <a:schemeClr val="bg1"/>
                          </a:solidFill>
                          <a:latin typeface="+mn-lt"/>
                        </a:rPr>
                        <a:t>WoB</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dirty="0">
                          <a:solidFill>
                            <a:srgbClr val="575555"/>
                          </a:solidFill>
                          <a:latin typeface="+mn-lt"/>
                        </a:rPr>
                        <a:t>11%</a:t>
                      </a:r>
                      <a:endParaRPr lang="en-US"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251309">
                <a:tc>
                  <a:txBody>
                    <a:bodyPr/>
                    <a:lstStyle/>
                    <a:p>
                      <a:r>
                        <a:rPr lang="en-US" sz="700" b="1" i="0" kern="1200" dirty="0">
                          <a:solidFill>
                            <a:schemeClr val="bg1"/>
                          </a:solidFill>
                          <a:latin typeface="+mn-lt"/>
                          <a:ea typeface="+mn-ea"/>
                          <a:cs typeface="+mn-cs"/>
                        </a:rPr>
                        <a:t>Sector</a:t>
                      </a:r>
                      <a:r>
                        <a:rPr lang="en-US" sz="700" b="1" i="0" dirty="0">
                          <a:solidFill>
                            <a:schemeClr val="bg1"/>
                          </a:solidFill>
                          <a:latin typeface="+mn-lt"/>
                        </a:rPr>
                        <a:t> Avg Price Index</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251309">
                <a:tc>
                  <a:txBody>
                    <a:bodyPr/>
                    <a:lstStyle/>
                    <a:p>
                      <a:r>
                        <a:rPr lang="en-US" sz="700" b="1" i="0" dirty="0" err="1">
                          <a:solidFill>
                            <a:schemeClr val="bg1"/>
                          </a:solidFill>
                          <a:latin typeface="+mn-lt"/>
                        </a:rPr>
                        <a:t>Hersheys`s</a:t>
                      </a:r>
                      <a:r>
                        <a:rPr lang="en-US" sz="700" b="1" i="0" dirty="0">
                          <a:solidFill>
                            <a:schemeClr val="bg1"/>
                          </a:solidFill>
                          <a:latin typeface="+mn-lt"/>
                        </a:rPr>
                        <a:t> Share</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51309">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1567D103-6BAE-2306-854E-88204A162B24}"/>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97B680B1-BEB6-CD52-71F9-7F3E2D3992D9}"/>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8366801C-FC09-91D4-B81C-1F9CFC0FE1C7}"/>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E2BF0649-C66C-4385-193F-2D387E2FCDBF}"/>
              </a:ext>
            </a:extLst>
          </p:cNvPr>
          <p:cNvSpPr>
            <a:spLocks noGrp="1"/>
          </p:cNvSpPr>
          <p:nvPr>
            <p:ph type="dt" sz="half" idx="14"/>
          </p:nvPr>
        </p:nvSpPr>
        <p:spPr/>
        <p:txBody>
          <a:bodyPr/>
          <a:lstStyle/>
          <a:p>
            <a:fld id="{E4271E2B-5453-484C-802B-3FA9DD26E3E6}" type="datetime1">
              <a:rPr lang="en-US" smtClean="0"/>
              <a:t>7/7/2025</a:t>
            </a:fld>
            <a:endParaRPr lang="en-US"/>
          </a:p>
        </p:txBody>
      </p:sp>
    </p:spTree>
    <p:extLst>
      <p:ext uri="{BB962C8B-B14F-4D97-AF65-F5344CB8AC3E}">
        <p14:creationId xmlns:p14="http://schemas.microsoft.com/office/powerpoint/2010/main" val="11001827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2"/>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3"/>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7/7/2025</a:t>
            </a:fld>
            <a:endParaRPr lang="en-US"/>
          </a:p>
        </p:txBody>
      </p:sp>
    </p:spTree>
    <p:extLst>
      <p:ext uri="{BB962C8B-B14F-4D97-AF65-F5344CB8AC3E}">
        <p14:creationId xmlns:p14="http://schemas.microsoft.com/office/powerpoint/2010/main" val="106088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dirty="0">
                <a:highlight>
                  <a:srgbClr val="FFFF00"/>
                </a:highlight>
              </a:rPr>
              <a:t>Market growth contributors</a:t>
            </a:r>
            <a:r>
              <a:rPr lang="fr-CH" dirty="0">
                <a:highlight>
                  <a:srgbClr val="FFFF00"/>
                </a:highlight>
              </a:rPr>
              <a:t> </a:t>
            </a:r>
            <a:r>
              <a:rPr lang="en-US" dirty="0">
                <a:solidFill>
                  <a:schemeClr val="bg2">
                    <a:lumMod val="90000"/>
                  </a:schemeClr>
                </a:solidFill>
                <a:highlight>
                  <a:srgbClr val="FFFF00"/>
                </a:highlight>
              </a:rPr>
              <a:t>(Replace with So What)</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7/7/2025</a:t>
            </a:fld>
            <a:endParaRPr lang="en-US"/>
          </a:p>
        </p:txBody>
      </p:sp>
    </p:spTree>
    <p:extLst>
      <p:ext uri="{BB962C8B-B14F-4D97-AF65-F5344CB8AC3E}">
        <p14:creationId xmlns:p14="http://schemas.microsoft.com/office/powerpoint/2010/main" val="3962350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dirty="0">
                <a:highlight>
                  <a:srgbClr val="FFFF00"/>
                </a:highlight>
              </a:rPr>
              <a:t>Sectors Value Sales &amp; </a:t>
            </a:r>
            <a:r>
              <a:rPr lang="en-GB" dirty="0" err="1">
                <a:highlight>
                  <a:srgbClr val="FFFF00"/>
                </a:highlight>
              </a:rPr>
              <a:t>Avg</a:t>
            </a:r>
            <a:r>
              <a:rPr lang="en-GB" dirty="0">
                <a:highlight>
                  <a:srgbClr val="FFFF00"/>
                </a:highlight>
              </a:rPr>
              <a:t> Price Per Kg</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1258429327"/>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2481208491"/>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274097823"/>
              </p:ext>
            </p:extLst>
          </p:nvPr>
        </p:nvGraphicFramePr>
        <p:xfrm>
          <a:off x="6056" y="3447197"/>
          <a:ext cx="8630654" cy="1287176"/>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37327">
                  <a:extLst>
                    <a:ext uri="{9D8B030D-6E8A-4147-A177-3AD203B41FA5}">
                      <a16:colId xmlns:a16="http://schemas.microsoft.com/office/drawing/2014/main" val="2253286919"/>
                    </a:ext>
                  </a:extLst>
                </a:gridCol>
                <a:gridCol w="337327">
                  <a:extLst>
                    <a:ext uri="{9D8B030D-6E8A-4147-A177-3AD203B41FA5}">
                      <a16:colId xmlns:a16="http://schemas.microsoft.com/office/drawing/2014/main" val="154020430"/>
                    </a:ext>
                  </a:extLst>
                </a:gridCol>
                <a:gridCol w="337327">
                  <a:extLst>
                    <a:ext uri="{9D8B030D-6E8A-4147-A177-3AD203B41FA5}">
                      <a16:colId xmlns:a16="http://schemas.microsoft.com/office/drawing/2014/main" val="3928813835"/>
                    </a:ext>
                  </a:extLst>
                </a:gridCol>
                <a:gridCol w="337327">
                  <a:extLst>
                    <a:ext uri="{9D8B030D-6E8A-4147-A177-3AD203B41FA5}">
                      <a16:colId xmlns:a16="http://schemas.microsoft.com/office/drawing/2014/main" val="3374165474"/>
                    </a:ext>
                  </a:extLst>
                </a:gridCol>
                <a:gridCol w="337327">
                  <a:extLst>
                    <a:ext uri="{9D8B030D-6E8A-4147-A177-3AD203B41FA5}">
                      <a16:colId xmlns:a16="http://schemas.microsoft.com/office/drawing/2014/main" val="99928969"/>
                    </a:ext>
                  </a:extLst>
                </a:gridCol>
                <a:gridCol w="337327">
                  <a:extLst>
                    <a:ext uri="{9D8B030D-6E8A-4147-A177-3AD203B41FA5}">
                      <a16:colId xmlns:a16="http://schemas.microsoft.com/office/drawing/2014/main" val="127408809"/>
                    </a:ext>
                  </a:extLst>
                </a:gridCol>
                <a:gridCol w="337327">
                  <a:extLst>
                    <a:ext uri="{9D8B030D-6E8A-4147-A177-3AD203B41FA5}">
                      <a16:colId xmlns:a16="http://schemas.microsoft.com/office/drawing/2014/main" val="3994312964"/>
                    </a:ext>
                  </a:extLst>
                </a:gridCol>
                <a:gridCol w="337327">
                  <a:extLst>
                    <a:ext uri="{9D8B030D-6E8A-4147-A177-3AD203B41FA5}">
                      <a16:colId xmlns:a16="http://schemas.microsoft.com/office/drawing/2014/main" val="384709931"/>
                    </a:ext>
                  </a:extLst>
                </a:gridCol>
                <a:gridCol w="337327">
                  <a:extLst>
                    <a:ext uri="{9D8B030D-6E8A-4147-A177-3AD203B41FA5}">
                      <a16:colId xmlns:a16="http://schemas.microsoft.com/office/drawing/2014/main" val="217012177"/>
                    </a:ext>
                  </a:extLst>
                </a:gridCol>
                <a:gridCol w="337327">
                  <a:extLst>
                    <a:ext uri="{9D8B030D-6E8A-4147-A177-3AD203B41FA5}">
                      <a16:colId xmlns:a16="http://schemas.microsoft.com/office/drawing/2014/main" val="2084146792"/>
                    </a:ext>
                  </a:extLst>
                </a:gridCol>
                <a:gridCol w="337327">
                  <a:extLst>
                    <a:ext uri="{9D8B030D-6E8A-4147-A177-3AD203B41FA5}">
                      <a16:colId xmlns:a16="http://schemas.microsoft.com/office/drawing/2014/main" val="586326706"/>
                    </a:ext>
                  </a:extLst>
                </a:gridCol>
                <a:gridCol w="337327">
                  <a:extLst>
                    <a:ext uri="{9D8B030D-6E8A-4147-A177-3AD203B41FA5}">
                      <a16:colId xmlns:a16="http://schemas.microsoft.com/office/drawing/2014/main" val="786404783"/>
                    </a:ext>
                  </a:extLst>
                </a:gridCol>
                <a:gridCol w="337327">
                  <a:extLst>
                    <a:ext uri="{9D8B030D-6E8A-4147-A177-3AD203B41FA5}">
                      <a16:colId xmlns:a16="http://schemas.microsoft.com/office/drawing/2014/main" val="2712606379"/>
                    </a:ext>
                  </a:extLst>
                </a:gridCol>
                <a:gridCol w="337327">
                  <a:extLst>
                    <a:ext uri="{9D8B030D-6E8A-4147-A177-3AD203B41FA5}">
                      <a16:colId xmlns:a16="http://schemas.microsoft.com/office/drawing/2014/main" val="2334528175"/>
                    </a:ext>
                  </a:extLst>
                </a:gridCol>
                <a:gridCol w="337327">
                  <a:extLst>
                    <a:ext uri="{9D8B030D-6E8A-4147-A177-3AD203B41FA5}">
                      <a16:colId xmlns:a16="http://schemas.microsoft.com/office/drawing/2014/main" val="3835393650"/>
                    </a:ext>
                  </a:extLst>
                </a:gridCol>
                <a:gridCol w="337327">
                  <a:extLst>
                    <a:ext uri="{9D8B030D-6E8A-4147-A177-3AD203B41FA5}">
                      <a16:colId xmlns:a16="http://schemas.microsoft.com/office/drawing/2014/main" val="3705822644"/>
                    </a:ext>
                  </a:extLst>
                </a:gridCol>
                <a:gridCol w="337327">
                  <a:extLst>
                    <a:ext uri="{9D8B030D-6E8A-4147-A177-3AD203B41FA5}">
                      <a16:colId xmlns:a16="http://schemas.microsoft.com/office/drawing/2014/main" val="184560546"/>
                    </a:ext>
                  </a:extLst>
                </a:gridCol>
                <a:gridCol w="337327">
                  <a:extLst>
                    <a:ext uri="{9D8B030D-6E8A-4147-A177-3AD203B41FA5}">
                      <a16:colId xmlns:a16="http://schemas.microsoft.com/office/drawing/2014/main" val="712457864"/>
                    </a:ext>
                  </a:extLst>
                </a:gridCol>
                <a:gridCol w="337327">
                  <a:extLst>
                    <a:ext uri="{9D8B030D-6E8A-4147-A177-3AD203B41FA5}">
                      <a16:colId xmlns:a16="http://schemas.microsoft.com/office/drawing/2014/main" val="2719112317"/>
                    </a:ext>
                  </a:extLst>
                </a:gridCol>
                <a:gridCol w="337327">
                  <a:extLst>
                    <a:ext uri="{9D8B030D-6E8A-4147-A177-3AD203B41FA5}">
                      <a16:colId xmlns:a16="http://schemas.microsoft.com/office/drawing/2014/main" val="1610204172"/>
                    </a:ext>
                  </a:extLst>
                </a:gridCol>
                <a:gridCol w="337327">
                  <a:extLst>
                    <a:ext uri="{9D8B030D-6E8A-4147-A177-3AD203B41FA5}">
                      <a16:colId xmlns:a16="http://schemas.microsoft.com/office/drawing/2014/main" val="4106856681"/>
                    </a:ext>
                  </a:extLst>
                </a:gridCol>
                <a:gridCol w="337327">
                  <a:extLst>
                    <a:ext uri="{9D8B030D-6E8A-4147-A177-3AD203B41FA5}">
                      <a16:colId xmlns:a16="http://schemas.microsoft.com/office/drawing/2014/main" val="4292680004"/>
                    </a:ext>
                  </a:extLst>
                </a:gridCol>
              </a:tblGrid>
              <a:tr h="251309">
                <a:tc>
                  <a:txBody>
                    <a:bodyPr/>
                    <a:lstStyle/>
                    <a:p>
                      <a:r>
                        <a:rPr lang="en-US" sz="700" b="1" i="0">
                          <a:solidFill>
                            <a:schemeClr val="bg1"/>
                          </a:solidFill>
                          <a:latin typeface="+mn-lt"/>
                        </a:rPr>
                        <a:t>Growth Contribution</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19592128"/>
                  </a:ext>
                </a:extLst>
              </a:tr>
              <a:tr h="267956">
                <a:tc>
                  <a:txBody>
                    <a:bodyPr/>
                    <a:lstStyle/>
                    <a:p>
                      <a:r>
                        <a:rPr lang="en-US" sz="700" b="1" i="0" dirty="0">
                          <a:solidFill>
                            <a:schemeClr val="bg1"/>
                          </a:solidFill>
                          <a:latin typeface="+mj-lt"/>
                        </a:rPr>
                        <a:t>Sector </a:t>
                      </a:r>
                      <a:r>
                        <a:rPr lang="en-US" sz="700" b="1" i="0" dirty="0" err="1">
                          <a:solidFill>
                            <a:schemeClr val="bg1"/>
                          </a:solidFill>
                          <a:latin typeface="+mn-lt"/>
                        </a:rPr>
                        <a:t>WoB</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dirty="0">
                          <a:solidFill>
                            <a:srgbClr val="575555"/>
                          </a:solidFill>
                          <a:latin typeface="+mn-lt"/>
                        </a:rPr>
                        <a:t>11%</a:t>
                      </a:r>
                      <a:endParaRPr lang="en-US"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251309">
                <a:tc>
                  <a:txBody>
                    <a:bodyPr/>
                    <a:lstStyle/>
                    <a:p>
                      <a:r>
                        <a:rPr lang="en-US" sz="700" b="1" i="0" kern="1200" dirty="0">
                          <a:solidFill>
                            <a:schemeClr val="bg1"/>
                          </a:solidFill>
                          <a:latin typeface="+mn-lt"/>
                          <a:ea typeface="+mn-ea"/>
                          <a:cs typeface="+mn-cs"/>
                        </a:rPr>
                        <a:t>Sector</a:t>
                      </a:r>
                      <a:r>
                        <a:rPr lang="en-US" sz="700" b="1" i="0" dirty="0">
                          <a:solidFill>
                            <a:schemeClr val="bg1"/>
                          </a:solidFill>
                          <a:latin typeface="+mn-lt"/>
                        </a:rPr>
                        <a:t> Avg Price Index</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251309">
                <a:tc>
                  <a:txBody>
                    <a:bodyPr/>
                    <a:lstStyle/>
                    <a:p>
                      <a:r>
                        <a:rPr lang="en-US" sz="700" b="1" i="0" dirty="0" err="1">
                          <a:solidFill>
                            <a:schemeClr val="bg1"/>
                          </a:solidFill>
                          <a:latin typeface="+mn-lt"/>
                        </a:rPr>
                        <a:t>Hersheys`s</a:t>
                      </a:r>
                      <a:r>
                        <a:rPr lang="en-US" sz="700" b="1" i="0" dirty="0">
                          <a:solidFill>
                            <a:schemeClr val="bg1"/>
                          </a:solidFill>
                          <a:latin typeface="+mn-lt"/>
                        </a:rPr>
                        <a:t> Share</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51309">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extLst>
              <p:ext uri="{D42A27DB-BD31-4B8C-83A1-F6EECF244321}">
                <p14:modId xmlns:p14="http://schemas.microsoft.com/office/powerpoint/2010/main" val="3455511502"/>
              </p:ext>
            </p:extLst>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7/7/2025</a:t>
            </a:fld>
            <a:endParaRPr lang="en-US"/>
          </a:p>
        </p:txBody>
      </p:sp>
    </p:spTree>
    <p:extLst>
      <p:ext uri="{BB962C8B-B14F-4D97-AF65-F5344CB8AC3E}">
        <p14:creationId xmlns:p14="http://schemas.microsoft.com/office/powerpoint/2010/main" val="28400285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a:solidFill>
                            <a:schemeClr val="tx2"/>
                          </a:solidFill>
                          <a:latin typeface="+mj-lt"/>
                        </a:rPr>
                        <a:t>LY DYA</a:t>
                      </a:r>
                    </a:p>
                    <a:p>
                      <a:pPr algn="ctr"/>
                      <a:r>
                        <a:rPr lang="en-US" sz="800">
                          <a:solidFill>
                            <a:schemeClr val="tx2"/>
                          </a:solidFill>
                          <a:latin typeface="+mj-lt"/>
                        </a:rPr>
                        <a:t> </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1272661545"/>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11124140"/>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dirty="0" err="1">
                          <a:solidFill>
                            <a:srgbClr val="575555"/>
                          </a:solidFill>
                          <a:latin typeface="Nexa Bold"/>
                        </a:rPr>
                        <a:t>Cimory</a:t>
                      </a:r>
                      <a:endParaRPr lang="en-US" sz="900" dirty="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3228389867"/>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3139607360"/>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2386581787"/>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7/7/2025</a:t>
            </a:fld>
            <a:endParaRPr lang="en-US"/>
          </a:p>
        </p:txBody>
      </p:sp>
    </p:spTree>
    <p:extLst>
      <p:ext uri="{BB962C8B-B14F-4D97-AF65-F5344CB8AC3E}">
        <p14:creationId xmlns:p14="http://schemas.microsoft.com/office/powerpoint/2010/main" val="2537877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05121734"/>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7/7/2025</a:t>
            </a:fld>
            <a:endParaRPr lang="en-US"/>
          </a:p>
        </p:txBody>
      </p:sp>
    </p:spTree>
    <p:extLst>
      <p:ext uri="{BB962C8B-B14F-4D97-AF65-F5344CB8AC3E}">
        <p14:creationId xmlns:p14="http://schemas.microsoft.com/office/powerpoint/2010/main" val="23606744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871389559"/>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771706334"/>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7/7/2025</a:t>
            </a:fld>
            <a:endParaRPr lang="en-US"/>
          </a:p>
        </p:txBody>
      </p:sp>
    </p:spTree>
    <p:extLst>
      <p:ext uri="{BB962C8B-B14F-4D97-AF65-F5344CB8AC3E}">
        <p14:creationId xmlns:p14="http://schemas.microsoft.com/office/powerpoint/2010/main" val="2861837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415998220"/>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4199404012"/>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3369277237"/>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7/7/2025</a:t>
            </a:fld>
            <a:endParaRPr lang="en-US"/>
          </a:p>
        </p:txBody>
      </p:sp>
    </p:spTree>
    <p:extLst>
      <p:ext uri="{BB962C8B-B14F-4D97-AF65-F5344CB8AC3E}">
        <p14:creationId xmlns:p14="http://schemas.microsoft.com/office/powerpoint/2010/main" val="440384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7/7/2025</a:t>
            </a:fld>
            <a:endParaRPr lang="en-US"/>
          </a:p>
        </p:txBody>
      </p:sp>
    </p:spTree>
    <p:extLst>
      <p:ext uri="{BB962C8B-B14F-4D97-AF65-F5344CB8AC3E}">
        <p14:creationId xmlns:p14="http://schemas.microsoft.com/office/powerpoint/2010/main" val="526380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A463C387-91F7-4F23-8A04-9E635946853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7</TotalTime>
  <Words>1898</Words>
  <Application>Microsoft Office PowerPoint</Application>
  <PresentationFormat>On-screen Show (16:9)</PresentationFormat>
  <Paragraphs>698</Paragraphs>
  <Slides>17</Slides>
  <Notes>12</Notes>
  <HiddenSlides>2</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ptos</vt:lpstr>
      <vt:lpstr>Arial</vt:lpstr>
      <vt:lpstr>Calibri</vt:lpstr>
      <vt:lpstr>Nexa</vt:lpstr>
      <vt:lpstr>Nexa Bold</vt:lpstr>
      <vt:lpstr>Nexa Book</vt:lpstr>
      <vt:lpstr>Nexa Book Italic</vt:lpstr>
      <vt:lpstr>Open Sans</vt:lpstr>
      <vt:lpstr>Raleway</vt:lpstr>
      <vt:lpstr>PricingOne Light Template Oct 2024</vt:lpstr>
      <vt:lpstr>think-cell Slide</vt:lpstr>
      <vt:lpstr>Sector Growth vs. Company Growth (Replace with So What)</vt:lpstr>
      <vt:lpstr>Sector Growth vs. Company Growth (Replace with So What)</vt:lpstr>
      <vt:lpstr>Market growth contributors (Replace with So What)</vt:lpstr>
      <vt:lpstr>Sectors Value Sales &amp; Avg Price Per Kg (Replace with So What)</vt:lpstr>
      <vt:lpstr>Share and Growth by Manufacturer/Brands (Replace with So What)</vt:lpstr>
      <vt:lpstr>Segment Leadership Analysis (Replace with So What)</vt:lpstr>
      <vt:lpstr>Segment Leadership Analysis (Replace with So What)</vt:lpstr>
      <vt:lpstr>Segment Leadership Analysis (Replace with So What)</vt:lpstr>
      <vt:lpstr>Category Trends (Replace with So What)</vt:lpstr>
      <vt:lpstr>Share Evolution index analysis (Replace with So What)</vt:lpstr>
      <vt:lpstr>Category Overview (Replace with So What)</vt:lpstr>
      <vt:lpstr>Category Evolution Analysis (Replace with So What)</vt:lpstr>
      <vt:lpstr>Share and Growth by Retailer/Channel (Replace with So What)</vt:lpstr>
      <vt:lpstr>Momentum Analysis (Replace with So What)</vt:lpstr>
      <vt:lpstr>Revenue by Price vs. Volume vs. Mix analysis (Replace with So What)</vt:lpstr>
      <vt:lpstr>Revenue by Price vs. Volume vs. Mix analysis (Replace with So What)</vt:lpstr>
      <vt:lpstr>Sectors Value Sales &amp; Avg Price Per K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 </dc:title>
  <dc:creator>Bhagya RANASINGHE</dc:creator>
  <cp:lastModifiedBy>Salma ANANY</cp:lastModifiedBy>
  <cp:revision>21</cp:revision>
  <dcterms:created xsi:type="dcterms:W3CDTF">2024-07-05T07:54:38Z</dcterms:created>
  <dcterms:modified xsi:type="dcterms:W3CDTF">2025-07-07T07:3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